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</p:sldMasterIdLst>
  <p:notesMasterIdLst>
    <p:notesMasterId r:id="rId6"/>
  </p:notesMasterIdLst>
  <p:sldIdLst>
    <p:sldId id="256" r:id="rId2"/>
    <p:sldId id="435" r:id="rId3"/>
    <p:sldId id="436" r:id="rId4"/>
    <p:sldId id="354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1D1B1E"/>
    <a:srgbClr val="020003"/>
    <a:srgbClr val="DD1D21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FF86C5-1DAD-4B2D-B6C2-39254CE7B61A}" v="76" dt="2023-10-04T15:11:51.66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25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138" y="1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i, Mukhtar SPDC-IUC/G/UCS" userId="d4be2608-be44-4cf9-9f9e-541c57401552" providerId="ADAL" clId="{09FF86C5-1DAD-4B2D-B6C2-39254CE7B61A}"/>
    <pc:docChg chg="undo custSel addSld modSld replTag delTag">
      <pc:chgData name="Sani, Mukhtar SPDC-IUC/G/UCS" userId="d4be2608-be44-4cf9-9f9e-541c57401552" providerId="ADAL" clId="{09FF86C5-1DAD-4B2D-B6C2-39254CE7B61A}" dt="2023-10-04T15:13:45.013" v="584" actId="20577"/>
      <pc:docMkLst>
        <pc:docMk/>
      </pc:docMkLst>
      <pc:sldChg chg="modSp mod">
        <pc:chgData name="Sani, Mukhtar SPDC-IUC/G/UCS" userId="d4be2608-be44-4cf9-9f9e-541c57401552" providerId="ADAL" clId="{09FF86C5-1DAD-4B2D-B6C2-39254CE7B61A}" dt="2023-10-04T15:13:45.013" v="584" actId="20577"/>
        <pc:sldMkLst>
          <pc:docMk/>
          <pc:sldMk cId="1597772515" sldId="435"/>
        </pc:sldMkLst>
        <pc:spChg chg="mod">
          <ac:chgData name="Sani, Mukhtar SPDC-IUC/G/UCS" userId="d4be2608-be44-4cf9-9f9e-541c57401552" providerId="ADAL" clId="{09FF86C5-1DAD-4B2D-B6C2-39254CE7B61A}" dt="2023-10-04T15:12:40.421" v="570" actId="404"/>
          <ac:spMkLst>
            <pc:docMk/>
            <pc:sldMk cId="1597772515" sldId="435"/>
            <ac:spMk id="9" creationId="{8227F060-F732-90D9-12FC-4E723F6660A0}"/>
          </ac:spMkLst>
        </pc:spChg>
        <pc:spChg chg="mod">
          <ac:chgData name="Sani, Mukhtar SPDC-IUC/G/UCS" userId="d4be2608-be44-4cf9-9f9e-541c57401552" providerId="ADAL" clId="{09FF86C5-1DAD-4B2D-B6C2-39254CE7B61A}" dt="2023-10-04T15:13:45.013" v="584" actId="20577"/>
          <ac:spMkLst>
            <pc:docMk/>
            <pc:sldMk cId="1597772515" sldId="435"/>
            <ac:spMk id="13" creationId="{7ABC675C-8AE5-247A-2290-CF74C9C10987}"/>
          </ac:spMkLst>
        </pc:spChg>
        <pc:spChg chg="mod">
          <ac:chgData name="Sani, Mukhtar SPDC-IUC/G/UCS" userId="d4be2608-be44-4cf9-9f9e-541c57401552" providerId="ADAL" clId="{09FF86C5-1DAD-4B2D-B6C2-39254CE7B61A}" dt="2023-10-04T15:12:53.755" v="571" actId="1076"/>
          <ac:spMkLst>
            <pc:docMk/>
            <pc:sldMk cId="1597772515" sldId="435"/>
            <ac:spMk id="25" creationId="{15AFA54E-4A31-F0ED-82B7-98B26830FD24}"/>
          </ac:spMkLst>
        </pc:spChg>
        <pc:spChg chg="mod">
          <ac:chgData name="Sani, Mukhtar SPDC-IUC/G/UCS" userId="d4be2608-be44-4cf9-9f9e-541c57401552" providerId="ADAL" clId="{09FF86C5-1DAD-4B2D-B6C2-39254CE7B61A}" dt="2023-10-04T15:13:08.445" v="573" actId="14100"/>
          <ac:spMkLst>
            <pc:docMk/>
            <pc:sldMk cId="1597772515" sldId="435"/>
            <ac:spMk id="30" creationId="{D0029DA5-226B-3B34-B197-00139298D86D}"/>
          </ac:spMkLst>
        </pc:spChg>
        <pc:spChg chg="mod">
          <ac:chgData name="Sani, Mukhtar SPDC-IUC/G/UCS" userId="d4be2608-be44-4cf9-9f9e-541c57401552" providerId="ADAL" clId="{09FF86C5-1DAD-4B2D-B6C2-39254CE7B61A}" dt="2023-10-04T15:13:00.900" v="572" actId="14100"/>
          <ac:spMkLst>
            <pc:docMk/>
            <pc:sldMk cId="1597772515" sldId="435"/>
            <ac:spMk id="61" creationId="{1ADB66E8-BCEB-6134-E12D-7B8A89DA2DB2}"/>
          </ac:spMkLst>
        </pc:spChg>
      </pc:sldChg>
      <pc:sldChg chg="addSp delSp modSp new add mod">
        <pc:chgData name="Sani, Mukhtar SPDC-IUC/G/UCS" userId="d4be2608-be44-4cf9-9f9e-541c57401552" providerId="ADAL" clId="{09FF86C5-1DAD-4B2D-B6C2-39254CE7B61A}" dt="2023-10-04T15:11:51.660" v="569"/>
        <pc:sldMkLst>
          <pc:docMk/>
          <pc:sldMk cId="4274779805" sldId="436"/>
        </pc:sldMkLst>
        <pc:spChg chg="mod">
          <ac:chgData name="Sani, Mukhtar SPDC-IUC/G/UCS" userId="d4be2608-be44-4cf9-9f9e-541c57401552" providerId="ADAL" clId="{09FF86C5-1DAD-4B2D-B6C2-39254CE7B61A}" dt="2023-10-04T15:11:51.596" v="540" actId="948"/>
          <ac:spMkLst>
            <pc:docMk/>
            <pc:sldMk cId="4274779805" sldId="436"/>
            <ac:spMk id="2" creationId="{E2574E19-BC0D-6FB4-3D64-96914B56B512}"/>
          </ac:spMkLst>
        </pc:spChg>
        <pc:spChg chg="add del mod modVis">
          <ac:chgData name="Sani, Mukhtar SPDC-IUC/G/UCS" userId="d4be2608-be44-4cf9-9f9e-541c57401552" providerId="ADAL" clId="{09FF86C5-1DAD-4B2D-B6C2-39254CE7B61A}" dt="2023-10-04T15:11:26.999" v="248" actId="962"/>
          <ac:spMkLst>
            <pc:docMk/>
            <pc:sldMk cId="4274779805" sldId="436"/>
            <ac:spMk id="6" creationId="{EB8C583B-5ABC-5E8F-CBA5-F21C61F5033B}"/>
          </ac:spMkLst>
        </pc:spChg>
        <pc:spChg chg="add del mod modVis">
          <ac:chgData name="Sani, Mukhtar SPDC-IUC/G/UCS" userId="d4be2608-be44-4cf9-9f9e-541c57401552" providerId="ADAL" clId="{09FF86C5-1DAD-4B2D-B6C2-39254CE7B61A}" dt="2023-10-04T15:11:26.089" v="208" actId="962"/>
          <ac:spMkLst>
            <pc:docMk/>
            <pc:sldMk cId="4274779805" sldId="436"/>
            <ac:spMk id="8" creationId="{4DE6FD08-DF9E-D75B-C7BC-C91EEC616C70}"/>
          </ac:spMkLst>
        </pc:spChg>
        <pc:spChg chg="add del mod modVis">
          <ac:chgData name="Sani, Mukhtar SPDC-IUC/G/UCS" userId="d4be2608-be44-4cf9-9f9e-541c57401552" providerId="ADAL" clId="{09FF86C5-1DAD-4B2D-B6C2-39254CE7B61A}" dt="2023-10-04T15:11:25.452" v="181" actId="962"/>
          <ac:spMkLst>
            <pc:docMk/>
            <pc:sldMk cId="4274779805" sldId="436"/>
            <ac:spMk id="9" creationId="{A44E2EB4-2DF7-58D8-5685-F7572C1FF67A}"/>
          </ac:spMkLst>
        </pc:spChg>
        <pc:spChg chg="add del mod modVis">
          <ac:chgData name="Sani, Mukhtar SPDC-IUC/G/UCS" userId="d4be2608-be44-4cf9-9f9e-541c57401552" providerId="ADAL" clId="{09FF86C5-1DAD-4B2D-B6C2-39254CE7B61A}" dt="2023-10-04T15:11:25.205" v="154" actId="962"/>
          <ac:spMkLst>
            <pc:docMk/>
            <pc:sldMk cId="4274779805" sldId="436"/>
            <ac:spMk id="10" creationId="{558A0666-D25B-FF43-DFFB-317FBFA81621}"/>
          </ac:spMkLst>
        </pc:spChg>
        <pc:spChg chg="add del mod modVis">
          <ac:chgData name="Sani, Mukhtar SPDC-IUC/G/UCS" userId="d4be2608-be44-4cf9-9f9e-541c57401552" providerId="ADAL" clId="{09FF86C5-1DAD-4B2D-B6C2-39254CE7B61A}" dt="2023-10-04T15:11:31.578" v="283"/>
          <ac:spMkLst>
            <pc:docMk/>
            <pc:sldMk cId="4274779805" sldId="436"/>
            <ac:spMk id="11" creationId="{124A944C-764B-2463-BAEA-AAC5CA02256A}"/>
          </ac:spMkLst>
        </pc:spChg>
        <pc:spChg chg="add del mod modVis">
          <ac:chgData name="Sani, Mukhtar SPDC-IUC/G/UCS" userId="d4be2608-be44-4cf9-9f9e-541c57401552" providerId="ADAL" clId="{09FF86C5-1DAD-4B2D-B6C2-39254CE7B61A}" dt="2023-10-04T15:11:33.261" v="328"/>
          <ac:spMkLst>
            <pc:docMk/>
            <pc:sldMk cId="4274779805" sldId="436"/>
            <ac:spMk id="13" creationId="{230DDAF7-8CE7-38AB-8B28-8261C5A3B049}"/>
          </ac:spMkLst>
        </pc:spChg>
        <pc:spChg chg="add del mod modVis">
          <ac:chgData name="Sani, Mukhtar SPDC-IUC/G/UCS" userId="d4be2608-be44-4cf9-9f9e-541c57401552" providerId="ADAL" clId="{09FF86C5-1DAD-4B2D-B6C2-39254CE7B61A}" dt="2023-10-04T15:11:34.396" v="358"/>
          <ac:spMkLst>
            <pc:docMk/>
            <pc:sldMk cId="4274779805" sldId="436"/>
            <ac:spMk id="14" creationId="{272BFD9E-6575-B0BE-C4E4-ADDE77D7769F}"/>
          </ac:spMkLst>
        </pc:spChg>
        <pc:spChg chg="add del mod modVis">
          <ac:chgData name="Sani, Mukhtar SPDC-IUC/G/UCS" userId="d4be2608-be44-4cf9-9f9e-541c57401552" providerId="ADAL" clId="{09FF86C5-1DAD-4B2D-B6C2-39254CE7B61A}" dt="2023-10-04T15:11:35.740" v="387"/>
          <ac:spMkLst>
            <pc:docMk/>
            <pc:sldMk cId="4274779805" sldId="436"/>
            <ac:spMk id="15" creationId="{F5218050-FD9C-C65B-8571-D3EE8981A4DB}"/>
          </ac:spMkLst>
        </pc:spChg>
        <pc:spChg chg="add del mod modVis">
          <ac:chgData name="Sani, Mukhtar SPDC-IUC/G/UCS" userId="d4be2608-be44-4cf9-9f9e-541c57401552" providerId="ADAL" clId="{09FF86C5-1DAD-4B2D-B6C2-39254CE7B61A}" dt="2023-10-04T15:11:36.359" v="414"/>
          <ac:spMkLst>
            <pc:docMk/>
            <pc:sldMk cId="4274779805" sldId="436"/>
            <ac:spMk id="16" creationId="{0CE25784-0891-E77D-8EC3-DEA93A61CA00}"/>
          </ac:spMkLst>
        </pc:spChg>
        <pc:spChg chg="add del mod modVis">
          <ac:chgData name="Sani, Mukhtar SPDC-IUC/G/UCS" userId="d4be2608-be44-4cf9-9f9e-541c57401552" providerId="ADAL" clId="{09FF86C5-1DAD-4B2D-B6C2-39254CE7B61A}" dt="2023-10-04T15:11:37.645" v="443"/>
          <ac:spMkLst>
            <pc:docMk/>
            <pc:sldMk cId="4274779805" sldId="436"/>
            <ac:spMk id="17" creationId="{A9B4E636-8E93-2453-B748-E469B35C4187}"/>
          </ac:spMkLst>
        </pc:spChg>
        <pc:spChg chg="add del mod modVis">
          <ac:chgData name="Sani, Mukhtar SPDC-IUC/G/UCS" userId="d4be2608-be44-4cf9-9f9e-541c57401552" providerId="ADAL" clId="{09FF86C5-1DAD-4B2D-B6C2-39254CE7B61A}" dt="2023-10-04T15:11:38.577" v="470"/>
          <ac:spMkLst>
            <pc:docMk/>
            <pc:sldMk cId="4274779805" sldId="436"/>
            <ac:spMk id="18" creationId="{3D91A434-BD2E-8F20-8208-1B128D99F424}"/>
          </ac:spMkLst>
        </pc:spChg>
        <pc:spChg chg="add del mod modVis">
          <ac:chgData name="Sani, Mukhtar SPDC-IUC/G/UCS" userId="d4be2608-be44-4cf9-9f9e-541c57401552" providerId="ADAL" clId="{09FF86C5-1DAD-4B2D-B6C2-39254CE7B61A}" dt="2023-10-04T15:11:39.700" v="499"/>
          <ac:spMkLst>
            <pc:docMk/>
            <pc:sldMk cId="4274779805" sldId="436"/>
            <ac:spMk id="19" creationId="{61CC6996-88CB-4FB1-750C-94F5F7C8A23F}"/>
          </ac:spMkLst>
        </pc:spChg>
        <pc:spChg chg="add del mod modVis">
          <ac:chgData name="Sani, Mukhtar SPDC-IUC/G/UCS" userId="d4be2608-be44-4cf9-9f9e-541c57401552" providerId="ADAL" clId="{09FF86C5-1DAD-4B2D-B6C2-39254CE7B61A}" dt="2023-10-04T15:11:40.589" v="530"/>
          <ac:spMkLst>
            <pc:docMk/>
            <pc:sldMk cId="4274779805" sldId="436"/>
            <ac:spMk id="20" creationId="{02744A00-0B29-DA3E-28DE-B653E54EB48B}"/>
          </ac:spMkLst>
        </pc:spChg>
        <pc:spChg chg="add del mod modVis">
          <ac:chgData name="Sani, Mukhtar SPDC-IUC/G/UCS" userId="d4be2608-be44-4cf9-9f9e-541c57401552" providerId="ADAL" clId="{09FF86C5-1DAD-4B2D-B6C2-39254CE7B61A}" dt="2023-10-04T15:11:51.654" v="567"/>
          <ac:spMkLst>
            <pc:docMk/>
            <pc:sldMk cId="4274779805" sldId="436"/>
            <ac:spMk id="21" creationId="{738B3C49-C6EE-3581-E12C-B112E6FDF5F2}"/>
          </ac:spMkLst>
        </pc:spChg>
        <pc:graphicFrameChg chg="add mod ord modVis replST delST">
          <ac:chgData name="Sani, Mukhtar SPDC-IUC/G/UCS" userId="d4be2608-be44-4cf9-9f9e-541c57401552" providerId="ADAL" clId="{09FF86C5-1DAD-4B2D-B6C2-39254CE7B61A}" dt="2023-10-04T15:11:26.990" v="228" actId="14100"/>
          <ac:graphicFrameMkLst>
            <pc:docMk/>
            <pc:sldMk cId="4274779805" sldId="436"/>
            <ac:graphicFrameMk id="7" creationId="{E6EACE99-5AD2-94D2-19DF-95B461BF86A3}"/>
          </ac:graphicFrameMkLst>
        </pc:graphicFrameChg>
        <pc:graphicFrameChg chg="add mod ord modVis replST">
          <ac:chgData name="Sani, Mukhtar SPDC-IUC/G/UCS" userId="d4be2608-be44-4cf9-9f9e-541c57401552" providerId="ADAL" clId="{09FF86C5-1DAD-4B2D-B6C2-39254CE7B61A}" dt="2023-10-04T15:11:51.660" v="569"/>
          <ac:graphicFrameMkLst>
            <pc:docMk/>
            <pc:sldMk cId="4274779805" sldId="436"/>
            <ac:graphicFrameMk id="12" creationId="{3EAD7DDE-45AF-EC87-AF68-07D6A1712F1B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6DFB8F-8729-46D2-8CAD-688BCEA37525}" type="datetimeFigureOut">
              <a:rPr lang="en-GB" smtClean="0"/>
              <a:t>2023-10-0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CC1CE4-B896-4752-A6A9-30DC3FC8FFD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6433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99493-6412-4470-9830-D005B358D6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43950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99493-6412-4470-9830-D005B358D6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6980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24"/>
            <a:ext cx="12193293" cy="685727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0" y="517459"/>
            <a:ext cx="1887660" cy="1887660"/>
          </a:xfrm>
          <a:prstGeom prst="rect">
            <a:avLst/>
          </a:prstGeom>
          <a:ln>
            <a:noFill/>
          </a:ln>
        </p:spPr>
      </p:pic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766800" y="2754403"/>
            <a:ext cx="9973373" cy="918000"/>
          </a:xfrm>
          <a:noFill/>
        </p:spPr>
        <p:txBody>
          <a:bodyPr lIns="0" tIns="0" rIns="0" anchor="b" anchorCtr="0"/>
          <a:lstStyle>
            <a:lvl1pPr>
              <a:lnSpc>
                <a:spcPct val="110000"/>
              </a:lnSpc>
              <a:defRPr sz="36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766800" y="3805856"/>
            <a:ext cx="9976548" cy="749808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20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66800" y="4832087"/>
            <a:ext cx="787112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Heavy" panose="00000700000000000000" pitchFamily="2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6800" y="5083916"/>
            <a:ext cx="787112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424FF0DD-BD49-2830-E8F8-54D9465A54D1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6734834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dirty="0" smtClean="0">
                <a:latin typeface="+mj-lt"/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472014" y="1686556"/>
            <a:ext cx="5207224" cy="4672970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¢"/>
              <a:defRPr sz="1400"/>
            </a:lvl2pPr>
            <a:lvl3pPr marL="3542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"/>
              <a:defRPr sz="1400"/>
            </a:lvl3pPr>
            <a:lvl4pPr marL="5320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tabLst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765174" y="1686554"/>
            <a:ext cx="5211763" cy="4672971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¢"/>
              <a:defRPr sz="1400"/>
            </a:lvl2pPr>
            <a:lvl3pPr marL="354200" indent="-1778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"/>
              <a:defRPr sz="1400"/>
            </a:lvl3pPr>
            <a:lvl4pPr marL="5320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2" name="TextBox 1" descr="CONFIDENTIAL_TAG_0xFFEE">
            <a:extLst>
              <a:ext uri="{FF2B5EF4-FFF2-40B4-BE49-F238E27FC236}">
                <a16:creationId xmlns:a16="http://schemas.microsoft.com/office/drawing/2014/main" id="{8875923B-0DF6-CC26-6119-9D06B140FE79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6105078"/>
      </p:ext>
    </p:extLst>
  </p:cSld>
  <p:clrMapOvr>
    <a:masterClrMapping/>
  </p:clrMapOvr>
  <p:transition/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5047384" y="0"/>
            <a:ext cx="7144616" cy="6857999"/>
          </a:xfrm>
          <a:custGeom>
            <a:avLst/>
            <a:gdLst>
              <a:gd name="connsiteX0" fmla="*/ 0 w 7141676"/>
              <a:gd name="connsiteY0" fmla="*/ 0 h 6316132"/>
              <a:gd name="connsiteX1" fmla="*/ 7141676 w 7141676"/>
              <a:gd name="connsiteY1" fmla="*/ 0 h 6316132"/>
              <a:gd name="connsiteX2" fmla="*/ 7141676 w 7141676"/>
              <a:gd name="connsiteY2" fmla="*/ 6316132 h 6316132"/>
              <a:gd name="connsiteX3" fmla="*/ 0 w 7141676"/>
              <a:gd name="connsiteY3" fmla="*/ 6316132 h 6316132"/>
              <a:gd name="connsiteX4" fmla="*/ 0 w 7141676"/>
              <a:gd name="connsiteY4" fmla="*/ 0 h 6316132"/>
              <a:gd name="connsiteX0" fmla="*/ 2940 w 7144616"/>
              <a:gd name="connsiteY0" fmla="*/ 0 h 6316132"/>
              <a:gd name="connsiteX1" fmla="*/ 7144616 w 7144616"/>
              <a:gd name="connsiteY1" fmla="*/ 0 h 6316132"/>
              <a:gd name="connsiteX2" fmla="*/ 7144616 w 7144616"/>
              <a:gd name="connsiteY2" fmla="*/ 6316132 h 6316132"/>
              <a:gd name="connsiteX3" fmla="*/ 2940 w 7144616"/>
              <a:gd name="connsiteY3" fmla="*/ 6316132 h 6316132"/>
              <a:gd name="connsiteX4" fmla="*/ 0 w 7144616"/>
              <a:gd name="connsiteY4" fmla="*/ 5779942 h 6316132"/>
              <a:gd name="connsiteX5" fmla="*/ 2940 w 7144616"/>
              <a:gd name="connsiteY5" fmla="*/ 0 h 6316132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2940 w 7144616"/>
              <a:gd name="connsiteY4" fmla="*/ 6316132 h 6316773"/>
              <a:gd name="connsiteX5" fmla="*/ 0 w 7144616"/>
              <a:gd name="connsiteY5" fmla="*/ 5779942 h 6316773"/>
              <a:gd name="connsiteX6" fmla="*/ 2940 w 7144616"/>
              <a:gd name="connsiteY6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7008"/>
              <a:gd name="connsiteX1" fmla="*/ 7144616 w 7144616"/>
              <a:gd name="connsiteY1" fmla="*/ 0 h 6317008"/>
              <a:gd name="connsiteX2" fmla="*/ 7144616 w 7144616"/>
              <a:gd name="connsiteY2" fmla="*/ 6316132 h 6317008"/>
              <a:gd name="connsiteX3" fmla="*/ 537870 w 7144616"/>
              <a:gd name="connsiteY3" fmla="*/ 6316773 h 6317008"/>
              <a:gd name="connsiteX4" fmla="*/ 0 w 7144616"/>
              <a:gd name="connsiteY4" fmla="*/ 5779942 h 6317008"/>
              <a:gd name="connsiteX5" fmla="*/ 2940 w 7144616"/>
              <a:gd name="connsiteY5" fmla="*/ 0 h 6317008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44616" h="6316773">
                <a:moveTo>
                  <a:pt x="2940" y="0"/>
                </a:moveTo>
                <a:lnTo>
                  <a:pt x="7144616" y="0"/>
                </a:lnTo>
                <a:lnTo>
                  <a:pt x="7144616" y="6316132"/>
                </a:lnTo>
                <a:lnTo>
                  <a:pt x="537870" y="6316773"/>
                </a:lnTo>
                <a:cubicBezTo>
                  <a:pt x="214457" y="6313295"/>
                  <a:pt x="5024" y="6140981"/>
                  <a:pt x="0" y="5779942"/>
                </a:cubicBezTo>
                <a:lnTo>
                  <a:pt x="2940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4425244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765175" y="1665286"/>
            <a:ext cx="3829404" cy="4694239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"/>
              <a:defRPr sz="1800"/>
            </a:lvl2pPr>
            <a:lvl3pPr marL="459000" indent="-228600"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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2" name="TextBox 1" descr="CONFIDENTIAL_TAG_0xFFEE">
            <a:extLst>
              <a:ext uri="{FF2B5EF4-FFF2-40B4-BE49-F238E27FC236}">
                <a16:creationId xmlns:a16="http://schemas.microsoft.com/office/drawing/2014/main" id="{203D808F-DB63-18A0-5ED3-C32CC2AF9BEB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9337318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>
                <a:latin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4116538"/>
            <a:ext cx="5468938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780690"/>
            <a:ext cx="5468938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4116538"/>
            <a:ext cx="54641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780690"/>
            <a:ext cx="54641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2" name="TextBox 1" descr="CONFIDENTIAL_TAG_0xFFEE">
            <a:extLst>
              <a:ext uri="{FF2B5EF4-FFF2-40B4-BE49-F238E27FC236}">
                <a16:creationId xmlns:a16="http://schemas.microsoft.com/office/drawing/2014/main" id="{4BF75DAA-645B-3DE7-D077-C2FB2E335899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2336815"/>
      </p:ext>
    </p:extLst>
  </p:cSld>
  <p:clrMapOvr>
    <a:masterClrMapping/>
  </p:clrMapOvr>
  <p:transition/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Graph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>
                <a:latin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4116538"/>
            <a:ext cx="5468938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Subtitle appears he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780690"/>
            <a:ext cx="5468938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4116538"/>
            <a:ext cx="5464175" cy="234616"/>
          </a:xfr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Subtitle appears he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780690"/>
            <a:ext cx="54641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9" name="Content Placeholder 9"/>
          <p:cNvSpPr>
            <a:spLocks noGrp="1"/>
          </p:cNvSpPr>
          <p:nvPr>
            <p:ph sz="quarter" idx="11"/>
          </p:nvPr>
        </p:nvSpPr>
        <p:spPr>
          <a:xfrm>
            <a:off x="509312" y="4510882"/>
            <a:ext cx="5467626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0" name="Content Placeholder 9"/>
          <p:cNvSpPr>
            <a:spLocks noGrp="1"/>
          </p:cNvSpPr>
          <p:nvPr>
            <p:ph sz="quarter" idx="63"/>
          </p:nvPr>
        </p:nvSpPr>
        <p:spPr>
          <a:xfrm>
            <a:off x="6215063" y="4510882"/>
            <a:ext cx="5467626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" name="TextBox 1" descr="CONFIDENTIAL_TAG_0xFFEE">
            <a:extLst>
              <a:ext uri="{FF2B5EF4-FFF2-40B4-BE49-F238E27FC236}">
                <a16:creationId xmlns:a16="http://schemas.microsoft.com/office/drawing/2014/main" id="{0740880F-72E6-86A4-6771-826DB077D2B0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2843519"/>
      </p:ext>
    </p:extLst>
  </p:cSld>
  <p:clrMapOvr>
    <a:masterClrMapping/>
  </p:clrMapOvr>
  <p:transition/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>
                <a:latin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7999" y="4116538"/>
            <a:ext cx="26066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Subtitle appears he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7999" y="1780690"/>
            <a:ext cx="26066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7999" y="2120382"/>
            <a:ext cx="26066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35536" y="4116538"/>
            <a:ext cx="2606400" cy="234616"/>
          </a:xfr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Subtitle appears he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35536" y="1780690"/>
            <a:ext cx="2606400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35536" y="2120382"/>
            <a:ext cx="2606400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9" name="Content Placeholder 9"/>
          <p:cNvSpPr>
            <a:spLocks noGrp="1"/>
          </p:cNvSpPr>
          <p:nvPr>
            <p:ph sz="quarter" idx="11"/>
          </p:nvPr>
        </p:nvSpPr>
        <p:spPr>
          <a:xfrm>
            <a:off x="509312" y="4510882"/>
            <a:ext cx="2606050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0" name="Content Placeholder 9"/>
          <p:cNvSpPr>
            <a:spLocks noGrp="1"/>
          </p:cNvSpPr>
          <p:nvPr>
            <p:ph sz="quarter" idx="63"/>
          </p:nvPr>
        </p:nvSpPr>
        <p:spPr>
          <a:xfrm>
            <a:off x="6235534" y="4510882"/>
            <a:ext cx="2608046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1" name="Content Placeholder 51"/>
          <p:cNvSpPr>
            <a:spLocks noGrp="1"/>
          </p:cNvSpPr>
          <p:nvPr>
            <p:ph sz="quarter" idx="64" hasCustomPrompt="1"/>
          </p:nvPr>
        </p:nvSpPr>
        <p:spPr>
          <a:xfrm>
            <a:off x="3369575" y="4116538"/>
            <a:ext cx="26066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Subtitle appears here</a:t>
            </a:r>
          </a:p>
        </p:txBody>
      </p:sp>
      <p:sp>
        <p:nvSpPr>
          <p:cNvPr id="22" name="Content Placeholder 51"/>
          <p:cNvSpPr>
            <a:spLocks noGrp="1"/>
          </p:cNvSpPr>
          <p:nvPr>
            <p:ph sz="quarter" idx="65" hasCustomPrompt="1"/>
          </p:nvPr>
        </p:nvSpPr>
        <p:spPr>
          <a:xfrm>
            <a:off x="3369575" y="1780690"/>
            <a:ext cx="26066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23" name="Chart Placeholder 16"/>
          <p:cNvSpPr>
            <a:spLocks noGrp="1"/>
          </p:cNvSpPr>
          <p:nvPr>
            <p:ph type="chart" sz="quarter" idx="66"/>
          </p:nvPr>
        </p:nvSpPr>
        <p:spPr>
          <a:xfrm>
            <a:off x="3369575" y="2120382"/>
            <a:ext cx="26066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24" name="Content Placeholder 9"/>
          <p:cNvSpPr>
            <a:spLocks noGrp="1"/>
          </p:cNvSpPr>
          <p:nvPr>
            <p:ph sz="quarter" idx="67"/>
          </p:nvPr>
        </p:nvSpPr>
        <p:spPr>
          <a:xfrm>
            <a:off x="3370888" y="4510882"/>
            <a:ext cx="2606050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7" name="Content Placeholder 51"/>
          <p:cNvSpPr>
            <a:spLocks noGrp="1"/>
          </p:cNvSpPr>
          <p:nvPr>
            <p:ph sz="quarter" idx="68" hasCustomPrompt="1"/>
          </p:nvPr>
        </p:nvSpPr>
        <p:spPr>
          <a:xfrm>
            <a:off x="9071193" y="4116538"/>
            <a:ext cx="2606400" cy="234616"/>
          </a:xfr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Subtitle appears here</a:t>
            </a:r>
          </a:p>
        </p:txBody>
      </p:sp>
      <p:sp>
        <p:nvSpPr>
          <p:cNvPr id="48" name="Content Placeholder 51"/>
          <p:cNvSpPr>
            <a:spLocks noGrp="1"/>
          </p:cNvSpPr>
          <p:nvPr>
            <p:ph sz="quarter" idx="69" hasCustomPrompt="1"/>
          </p:nvPr>
        </p:nvSpPr>
        <p:spPr>
          <a:xfrm>
            <a:off x="9071193" y="1780690"/>
            <a:ext cx="2606400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49" name="Chart Placeholder 16"/>
          <p:cNvSpPr>
            <a:spLocks noGrp="1"/>
          </p:cNvSpPr>
          <p:nvPr>
            <p:ph type="chart" sz="quarter" idx="70"/>
          </p:nvPr>
        </p:nvSpPr>
        <p:spPr>
          <a:xfrm>
            <a:off x="9071193" y="2120382"/>
            <a:ext cx="2606400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50" name="Content Placeholder 9"/>
          <p:cNvSpPr>
            <a:spLocks noGrp="1"/>
          </p:cNvSpPr>
          <p:nvPr>
            <p:ph sz="quarter" idx="71"/>
          </p:nvPr>
        </p:nvSpPr>
        <p:spPr>
          <a:xfrm>
            <a:off x="9071191" y="4510882"/>
            <a:ext cx="2608046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" name="TextBox 1" descr="CONFIDENTIAL_TAG_0xFFEE">
            <a:extLst>
              <a:ext uri="{FF2B5EF4-FFF2-40B4-BE49-F238E27FC236}">
                <a16:creationId xmlns:a16="http://schemas.microsoft.com/office/drawing/2014/main" id="{99D55C11-12B3-1E06-00AE-1219297136E6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5831797"/>
      </p:ext>
    </p:extLst>
  </p:cSld>
  <p:clrMapOvr>
    <a:masterClrMapping/>
  </p:clrMapOvr>
  <p:transition/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Picture 10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58" t="3243" r="26982"/>
          <a:stretch/>
        </p:blipFill>
        <p:spPr>
          <a:xfrm flipH="1">
            <a:off x="0" y="0"/>
            <a:ext cx="8067404" cy="6858000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01520" y="4826000"/>
            <a:ext cx="4077539" cy="89596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01520" y="3258524"/>
            <a:ext cx="4077539" cy="1508861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32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619994" y="1908483"/>
            <a:ext cx="2724653" cy="1123888"/>
          </a:xfrm>
          <a:prstGeom prst="rect">
            <a:avLst/>
          </a:prstGeom>
        </p:spPr>
        <p:txBody>
          <a:bodyPr lIns="0" tIns="0" rIns="0" bIns="0"/>
          <a:lstStyle>
            <a:lvl1pPr marL="0" algn="l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7300" kern="10000" spc="-600" baseline="0" dirty="0">
                <a:ln w="3175">
                  <a:noFill/>
                </a:ln>
                <a:solidFill>
                  <a:schemeClr val="accent2"/>
                </a:solidFill>
                <a:latin typeface="ShellHeavy" panose="00000700000000000000" pitchFamily="2" charset="0"/>
                <a:ea typeface="ShellHeavy" panose="00000700000000000000" pitchFamily="2" charset="0"/>
                <a:cs typeface="ShellHeavy" panose="00000700000000000000" pitchFamily="2" charset="0"/>
              </a:defRPr>
            </a:lvl1pPr>
          </a:lstStyle>
          <a:p>
            <a:pPr lvl="0"/>
            <a:r>
              <a:rPr lang="en-GB" dirty="0"/>
              <a:t>0.1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2" name="TextBox 1" descr="CONFIDENTIAL_TAG_0xFFEE">
            <a:extLst>
              <a:ext uri="{FF2B5EF4-FFF2-40B4-BE49-F238E27FC236}">
                <a16:creationId xmlns:a16="http://schemas.microsoft.com/office/drawing/2014/main" id="{0C725048-A11C-46E6-8EC6-4CC672BC3F21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1529402"/>
      </p:ext>
    </p:extLst>
  </p:cSld>
  <p:clrMapOvr>
    <a:masterClrMapping/>
  </p:clrMapOvr>
  <p:transition/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 bwMode="gray">
          <a:xfrm>
            <a:off x="-4046" y="483102"/>
            <a:ext cx="1394397" cy="184552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5578475" y="0"/>
            <a:ext cx="6616248" cy="6857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5175" y="3258523"/>
            <a:ext cx="4066542" cy="1508861"/>
          </a:xfrm>
          <a:noFill/>
        </p:spPr>
        <p:txBody>
          <a:bodyPr lIns="0" tIns="0" rIns="0"/>
          <a:lstStyle>
            <a:lvl1pPr>
              <a:defRPr sz="32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72990" y="4826586"/>
            <a:ext cx="4066542" cy="8953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6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2" name="TextBox 1" descr="CONFIDENTIAL_TAG_0xFFEE">
            <a:extLst>
              <a:ext uri="{FF2B5EF4-FFF2-40B4-BE49-F238E27FC236}">
                <a16:creationId xmlns:a16="http://schemas.microsoft.com/office/drawing/2014/main" id="{A7CD83D5-99A2-AC99-BBC8-AD16B1DDED1B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9615428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260">
          <p15:clr>
            <a:srgbClr val="FBAE40"/>
          </p15:clr>
        </p15:guide>
        <p15:guide id="3" orient="horz" pos="23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2" name="TextBox 1" descr="CONFIDENTIAL_TAG_0xFFEE">
            <a:extLst>
              <a:ext uri="{FF2B5EF4-FFF2-40B4-BE49-F238E27FC236}">
                <a16:creationId xmlns:a16="http://schemas.microsoft.com/office/drawing/2014/main" id="{34CB53D2-71D1-5BA9-1718-ABC837069026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4907101"/>
      </p:ext>
    </p:extLst>
  </p:cSld>
  <p:clrMapOvr>
    <a:masterClrMapping/>
  </p:clrMapOvr>
  <p:transition/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 descr="&lt;ignore&gt;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 Placeholder 2" descr="&lt;IGNORE&gt;" title="&lt;IGNORE&gt;"/>
          <p:cNvSpPr>
            <a:spLocks noGrp="1"/>
          </p:cNvSpPr>
          <p:nvPr>
            <p:ph type="body" sz="quarter" idx="13"/>
          </p:nvPr>
        </p:nvSpPr>
        <p:spPr>
          <a:xfrm>
            <a:off x="513179" y="1681888"/>
            <a:ext cx="11166561" cy="2861742"/>
          </a:xfrm>
        </p:spPr>
        <p:txBody>
          <a:bodyPr/>
          <a:lstStyle>
            <a:lvl1pPr>
              <a:lnSpc>
                <a:spcPct val="110000"/>
              </a:lnSpc>
              <a:defRPr lang="en-US" sz="36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2" name="TextBox 1" descr="CONFIDENTIAL_TAG_0xFFEE">
            <a:extLst>
              <a:ext uri="{FF2B5EF4-FFF2-40B4-BE49-F238E27FC236}">
                <a16:creationId xmlns:a16="http://schemas.microsoft.com/office/drawing/2014/main" id="{9BFF84D9-E614-1BDB-0D93-353D237AB3F9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8676711"/>
      </p:ext>
    </p:extLst>
  </p:cSld>
  <p:clrMapOvr>
    <a:masterClrMapping/>
  </p:clrMapOvr>
  <p:transition/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5" t="45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34" r="47297" b="27130"/>
          <a:stretch/>
        </p:blipFill>
        <p:spPr>
          <a:xfrm>
            <a:off x="5207633" y="0"/>
            <a:ext cx="6999607" cy="68580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234462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r>
              <a:rPr lang="en-GB" dirty="0"/>
              <a:t>Click to edit Master title style, if required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66800" y="723550"/>
            <a:ext cx="6375761" cy="140021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9600" b="0" cap="none" baseline="0">
                <a:solidFill>
                  <a:schemeClr val="accent1"/>
                </a:solidFill>
                <a:latin typeface="ShellHeavy" panose="00000700000000000000" pitchFamily="2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 dirty="0"/>
              <a:t>Q&amp;A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gray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bg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FA42DCDE-F7FC-8841-07E1-9BA9BC5F994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0061622"/>
      </p:ext>
    </p:extLst>
  </p:cSld>
  <p:clrMapOvr>
    <a:masterClrMapping/>
  </p:clrMapOvr>
  <p:transition/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5175" y="2286000"/>
            <a:ext cx="4143255" cy="1386000"/>
          </a:xfrm>
          <a:noFill/>
        </p:spPr>
        <p:txBody>
          <a:bodyPr lIns="0" tIns="0" rIns="0" anchor="b" anchorCtr="0"/>
          <a:lstStyle>
            <a:lvl1pPr>
              <a:lnSpc>
                <a:spcPct val="110000"/>
              </a:lnSpc>
              <a:defRPr sz="36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65175" y="3805200"/>
            <a:ext cx="4060821" cy="749808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20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765175" y="4831200"/>
            <a:ext cx="406082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Heavy" panose="00000700000000000000" pitchFamily="2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765175" y="5083200"/>
            <a:ext cx="4060821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 bwMode="auto">
          <a:xfrm>
            <a:off x="5047384" y="1"/>
            <a:ext cx="7144616" cy="6359524"/>
          </a:xfrm>
          <a:custGeom>
            <a:avLst/>
            <a:gdLst>
              <a:gd name="connsiteX0" fmla="*/ 0 w 7141676"/>
              <a:gd name="connsiteY0" fmla="*/ 0 h 6316132"/>
              <a:gd name="connsiteX1" fmla="*/ 7141676 w 7141676"/>
              <a:gd name="connsiteY1" fmla="*/ 0 h 6316132"/>
              <a:gd name="connsiteX2" fmla="*/ 7141676 w 7141676"/>
              <a:gd name="connsiteY2" fmla="*/ 6316132 h 6316132"/>
              <a:gd name="connsiteX3" fmla="*/ 0 w 7141676"/>
              <a:gd name="connsiteY3" fmla="*/ 6316132 h 6316132"/>
              <a:gd name="connsiteX4" fmla="*/ 0 w 7141676"/>
              <a:gd name="connsiteY4" fmla="*/ 0 h 6316132"/>
              <a:gd name="connsiteX0" fmla="*/ 2940 w 7144616"/>
              <a:gd name="connsiteY0" fmla="*/ 0 h 6316132"/>
              <a:gd name="connsiteX1" fmla="*/ 7144616 w 7144616"/>
              <a:gd name="connsiteY1" fmla="*/ 0 h 6316132"/>
              <a:gd name="connsiteX2" fmla="*/ 7144616 w 7144616"/>
              <a:gd name="connsiteY2" fmla="*/ 6316132 h 6316132"/>
              <a:gd name="connsiteX3" fmla="*/ 2940 w 7144616"/>
              <a:gd name="connsiteY3" fmla="*/ 6316132 h 6316132"/>
              <a:gd name="connsiteX4" fmla="*/ 0 w 7144616"/>
              <a:gd name="connsiteY4" fmla="*/ 5779942 h 6316132"/>
              <a:gd name="connsiteX5" fmla="*/ 2940 w 7144616"/>
              <a:gd name="connsiteY5" fmla="*/ 0 h 6316132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2940 w 7144616"/>
              <a:gd name="connsiteY4" fmla="*/ 6316132 h 6316773"/>
              <a:gd name="connsiteX5" fmla="*/ 0 w 7144616"/>
              <a:gd name="connsiteY5" fmla="*/ 5779942 h 6316773"/>
              <a:gd name="connsiteX6" fmla="*/ 2940 w 7144616"/>
              <a:gd name="connsiteY6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7008"/>
              <a:gd name="connsiteX1" fmla="*/ 7144616 w 7144616"/>
              <a:gd name="connsiteY1" fmla="*/ 0 h 6317008"/>
              <a:gd name="connsiteX2" fmla="*/ 7144616 w 7144616"/>
              <a:gd name="connsiteY2" fmla="*/ 6316132 h 6317008"/>
              <a:gd name="connsiteX3" fmla="*/ 537870 w 7144616"/>
              <a:gd name="connsiteY3" fmla="*/ 6316773 h 6317008"/>
              <a:gd name="connsiteX4" fmla="*/ 0 w 7144616"/>
              <a:gd name="connsiteY4" fmla="*/ 5779942 h 6317008"/>
              <a:gd name="connsiteX5" fmla="*/ 2940 w 7144616"/>
              <a:gd name="connsiteY5" fmla="*/ 0 h 6317008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44616" h="6316773">
                <a:moveTo>
                  <a:pt x="2940" y="0"/>
                </a:moveTo>
                <a:lnTo>
                  <a:pt x="7144616" y="0"/>
                </a:lnTo>
                <a:lnTo>
                  <a:pt x="7144616" y="6316132"/>
                </a:lnTo>
                <a:lnTo>
                  <a:pt x="537870" y="6316773"/>
                </a:lnTo>
                <a:cubicBezTo>
                  <a:pt x="214457" y="6313295"/>
                  <a:pt x="5024" y="6140981"/>
                  <a:pt x="0" y="5779942"/>
                </a:cubicBezTo>
                <a:lnTo>
                  <a:pt x="2940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0" y="517459"/>
            <a:ext cx="1887660" cy="1887660"/>
          </a:xfrm>
          <a:prstGeom prst="rect">
            <a:avLst/>
          </a:prstGeom>
          <a:ln>
            <a:noFill/>
          </a:ln>
        </p:spPr>
      </p:pic>
      <p:sp>
        <p:nvSpPr>
          <p:cNvPr id="2" name="TextBox 1" descr="CONFIDENTIAL_TAG_0xFFEE">
            <a:extLst>
              <a:ext uri="{FF2B5EF4-FFF2-40B4-BE49-F238E27FC236}">
                <a16:creationId xmlns:a16="http://schemas.microsoft.com/office/drawing/2014/main" id="{81E42C0B-FE04-3EF5-AA47-3CC10729761F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1494332"/>
      </p:ext>
    </p:extLst>
  </p:cSld>
  <p:clrMapOvr>
    <a:masterClrMapping/>
  </p:clrMapOvr>
  <p:transition/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 - Opt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34" r="47297" b="27130"/>
          <a:stretch/>
        </p:blipFill>
        <p:spPr>
          <a:xfrm>
            <a:off x="5207633" y="0"/>
            <a:ext cx="6999607" cy="68580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4169538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r>
              <a:rPr lang="en-GB" dirty="0"/>
              <a:t>Click to edit Master title style, if required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66800" y="2548468"/>
            <a:ext cx="6375761" cy="140021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9600" b="0" cap="none" baseline="0">
                <a:solidFill>
                  <a:schemeClr val="accent2"/>
                </a:solidFill>
                <a:latin typeface="ShellHeavy" panose="00000700000000000000" pitchFamily="2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 dirty="0"/>
              <a:t>Q&amp;A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2" name="TextBox 1" descr="CONFIDENTIAL_TAG_0xFFEE">
            <a:extLst>
              <a:ext uri="{FF2B5EF4-FFF2-40B4-BE49-F238E27FC236}">
                <a16:creationId xmlns:a16="http://schemas.microsoft.com/office/drawing/2014/main" id="{B48B5844-B88A-B4F1-65C2-B1DBDBB42C4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1789840"/>
      </p:ext>
    </p:extLst>
  </p:cSld>
  <p:clrMapOvr>
    <a:masterClrMapping/>
  </p:clrMapOvr>
  <p:transition/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  <p:sp>
        <p:nvSpPr>
          <p:cNvPr id="2" name="TextBox 1" descr="CONFIDENTIAL_TAG_0xFFEE">
            <a:extLst>
              <a:ext uri="{FF2B5EF4-FFF2-40B4-BE49-F238E27FC236}">
                <a16:creationId xmlns:a16="http://schemas.microsoft.com/office/drawing/2014/main" id="{29855893-F7EC-86E2-E2FB-BE41215BBF44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5353519"/>
      </p:ext>
    </p:extLst>
  </p:cSld>
  <p:clrMapOvr>
    <a:masterClrMapping/>
  </p:clrMapOvr>
  <p:transition/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  <p:sp>
        <p:nvSpPr>
          <p:cNvPr id="2" name="TextBox 1" descr="CONFIDENTIAL_TAG_0xFFEE">
            <a:extLst>
              <a:ext uri="{FF2B5EF4-FFF2-40B4-BE49-F238E27FC236}">
                <a16:creationId xmlns:a16="http://schemas.microsoft.com/office/drawing/2014/main" id="{1D716049-6DF7-8424-8A1E-5CBF4C6B269B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1378542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 bwMode="auto">
          <a:xfrm>
            <a:off x="5077731" y="1015519"/>
            <a:ext cx="7115469" cy="5344822"/>
          </a:xfrm>
          <a:custGeom>
            <a:avLst/>
            <a:gdLst>
              <a:gd name="connsiteX0" fmla="*/ 0 w 7113204"/>
              <a:gd name="connsiteY0" fmla="*/ 0 h 5343523"/>
              <a:gd name="connsiteX1" fmla="*/ 7113204 w 7113204"/>
              <a:gd name="connsiteY1" fmla="*/ 0 h 5343523"/>
              <a:gd name="connsiteX2" fmla="*/ 7113204 w 7113204"/>
              <a:gd name="connsiteY2" fmla="*/ 5343523 h 5343523"/>
              <a:gd name="connsiteX3" fmla="*/ 0 w 7113204"/>
              <a:gd name="connsiteY3" fmla="*/ 5343523 h 5343523"/>
              <a:gd name="connsiteX4" fmla="*/ 0 w 7113204"/>
              <a:gd name="connsiteY4" fmla="*/ 0 h 5343523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0 w 7113204"/>
              <a:gd name="connsiteY4" fmla="*/ 5343523 h 5344338"/>
              <a:gd name="connsiteX5" fmla="*/ 0 w 7113204"/>
              <a:gd name="connsiteY5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0 w 7113204"/>
              <a:gd name="connsiteY4" fmla="*/ 5343523 h 5344338"/>
              <a:gd name="connsiteX5" fmla="*/ 1802 w 7113204"/>
              <a:gd name="connsiteY5" fmla="*/ 4810262 h 5344338"/>
              <a:gd name="connsiteX6" fmla="*/ 0 w 7113204"/>
              <a:gd name="connsiteY6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1802 w 7113204"/>
              <a:gd name="connsiteY4" fmla="*/ 4810262 h 5344338"/>
              <a:gd name="connsiteX5" fmla="*/ 0 w 7113204"/>
              <a:gd name="connsiteY5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1802 w 7113204"/>
              <a:gd name="connsiteY4" fmla="*/ 4810262 h 5344338"/>
              <a:gd name="connsiteX5" fmla="*/ 0 w 7113204"/>
              <a:gd name="connsiteY5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1802 w 7113204"/>
              <a:gd name="connsiteY4" fmla="*/ 4810262 h 5344338"/>
              <a:gd name="connsiteX5" fmla="*/ 0 w 7113204"/>
              <a:gd name="connsiteY5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1802 w 7113204"/>
              <a:gd name="connsiteY4" fmla="*/ 4810262 h 5344338"/>
              <a:gd name="connsiteX5" fmla="*/ 0 w 7113204"/>
              <a:gd name="connsiteY5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1802 w 7113204"/>
              <a:gd name="connsiteY4" fmla="*/ 4810262 h 5344338"/>
              <a:gd name="connsiteX5" fmla="*/ 0 w 7113204"/>
              <a:gd name="connsiteY5" fmla="*/ 0 h 5344338"/>
              <a:gd name="connsiteX0" fmla="*/ 0 w 7113204"/>
              <a:gd name="connsiteY0" fmla="*/ 453 h 5344791"/>
              <a:gd name="connsiteX1" fmla="*/ 519692 w 7113204"/>
              <a:gd name="connsiteY1" fmla="*/ 0 h 5344791"/>
              <a:gd name="connsiteX2" fmla="*/ 7113204 w 7113204"/>
              <a:gd name="connsiteY2" fmla="*/ 453 h 5344791"/>
              <a:gd name="connsiteX3" fmla="*/ 7113204 w 7113204"/>
              <a:gd name="connsiteY3" fmla="*/ 5343976 h 5344791"/>
              <a:gd name="connsiteX4" fmla="*/ 503508 w 7113204"/>
              <a:gd name="connsiteY4" fmla="*/ 5344791 h 5344791"/>
              <a:gd name="connsiteX5" fmla="*/ 1802 w 7113204"/>
              <a:gd name="connsiteY5" fmla="*/ 4810715 h 5344791"/>
              <a:gd name="connsiteX6" fmla="*/ 0 w 7113204"/>
              <a:gd name="connsiteY6" fmla="*/ 453 h 5344791"/>
              <a:gd name="connsiteX0" fmla="*/ 39320 w 7152524"/>
              <a:gd name="connsiteY0" fmla="*/ 48299 h 5392637"/>
              <a:gd name="connsiteX1" fmla="*/ 559012 w 7152524"/>
              <a:gd name="connsiteY1" fmla="*/ 47846 h 5392637"/>
              <a:gd name="connsiteX2" fmla="*/ 7152524 w 7152524"/>
              <a:gd name="connsiteY2" fmla="*/ 48299 h 5392637"/>
              <a:gd name="connsiteX3" fmla="*/ 7152524 w 7152524"/>
              <a:gd name="connsiteY3" fmla="*/ 5391822 h 5392637"/>
              <a:gd name="connsiteX4" fmla="*/ 542828 w 7152524"/>
              <a:gd name="connsiteY4" fmla="*/ 5392637 h 5392637"/>
              <a:gd name="connsiteX5" fmla="*/ 41122 w 7152524"/>
              <a:gd name="connsiteY5" fmla="*/ 4858561 h 5392637"/>
              <a:gd name="connsiteX6" fmla="*/ 37076 w 7152524"/>
              <a:gd name="connsiteY6" fmla="*/ 496955 h 5392637"/>
              <a:gd name="connsiteX7" fmla="*/ 39320 w 7152524"/>
              <a:gd name="connsiteY7" fmla="*/ 48299 h 5392637"/>
              <a:gd name="connsiteX0" fmla="*/ 155497 w 7270945"/>
              <a:gd name="connsiteY0" fmla="*/ 497244 h 5392926"/>
              <a:gd name="connsiteX1" fmla="*/ 677433 w 7270945"/>
              <a:gd name="connsiteY1" fmla="*/ 48135 h 5392926"/>
              <a:gd name="connsiteX2" fmla="*/ 7270945 w 7270945"/>
              <a:gd name="connsiteY2" fmla="*/ 48588 h 5392926"/>
              <a:gd name="connsiteX3" fmla="*/ 7270945 w 7270945"/>
              <a:gd name="connsiteY3" fmla="*/ 5392111 h 5392926"/>
              <a:gd name="connsiteX4" fmla="*/ 661249 w 7270945"/>
              <a:gd name="connsiteY4" fmla="*/ 5392926 h 5392926"/>
              <a:gd name="connsiteX5" fmla="*/ 159543 w 7270945"/>
              <a:gd name="connsiteY5" fmla="*/ 4858850 h 5392926"/>
              <a:gd name="connsiteX6" fmla="*/ 155497 w 7270945"/>
              <a:gd name="connsiteY6" fmla="*/ 497244 h 5392926"/>
              <a:gd name="connsiteX0" fmla="*/ 155497 w 7270945"/>
              <a:gd name="connsiteY0" fmla="*/ 497244 h 5392926"/>
              <a:gd name="connsiteX1" fmla="*/ 677433 w 7270945"/>
              <a:gd name="connsiteY1" fmla="*/ 48135 h 5392926"/>
              <a:gd name="connsiteX2" fmla="*/ 7270945 w 7270945"/>
              <a:gd name="connsiteY2" fmla="*/ 48588 h 5392926"/>
              <a:gd name="connsiteX3" fmla="*/ 7270945 w 7270945"/>
              <a:gd name="connsiteY3" fmla="*/ 5392111 h 5392926"/>
              <a:gd name="connsiteX4" fmla="*/ 661249 w 7270945"/>
              <a:gd name="connsiteY4" fmla="*/ 5392926 h 5392926"/>
              <a:gd name="connsiteX5" fmla="*/ 159543 w 7270945"/>
              <a:gd name="connsiteY5" fmla="*/ 4858850 h 5392926"/>
              <a:gd name="connsiteX6" fmla="*/ 155497 w 7270945"/>
              <a:gd name="connsiteY6" fmla="*/ 497244 h 5392926"/>
              <a:gd name="connsiteX0" fmla="*/ 155497 w 7270945"/>
              <a:gd name="connsiteY0" fmla="*/ 497244 h 5392926"/>
              <a:gd name="connsiteX1" fmla="*/ 677433 w 7270945"/>
              <a:gd name="connsiteY1" fmla="*/ 48135 h 5392926"/>
              <a:gd name="connsiteX2" fmla="*/ 7270945 w 7270945"/>
              <a:gd name="connsiteY2" fmla="*/ 48588 h 5392926"/>
              <a:gd name="connsiteX3" fmla="*/ 7270945 w 7270945"/>
              <a:gd name="connsiteY3" fmla="*/ 5392111 h 5392926"/>
              <a:gd name="connsiteX4" fmla="*/ 661249 w 7270945"/>
              <a:gd name="connsiteY4" fmla="*/ 5392926 h 5392926"/>
              <a:gd name="connsiteX5" fmla="*/ 159543 w 7270945"/>
              <a:gd name="connsiteY5" fmla="*/ 4858850 h 5392926"/>
              <a:gd name="connsiteX6" fmla="*/ 155497 w 7270945"/>
              <a:gd name="connsiteY6" fmla="*/ 497244 h 5392926"/>
              <a:gd name="connsiteX0" fmla="*/ 155497 w 7270945"/>
              <a:gd name="connsiteY0" fmla="*/ 497244 h 5392926"/>
              <a:gd name="connsiteX1" fmla="*/ 677433 w 7270945"/>
              <a:gd name="connsiteY1" fmla="*/ 48135 h 5392926"/>
              <a:gd name="connsiteX2" fmla="*/ 7270945 w 7270945"/>
              <a:gd name="connsiteY2" fmla="*/ 48588 h 5392926"/>
              <a:gd name="connsiteX3" fmla="*/ 7270945 w 7270945"/>
              <a:gd name="connsiteY3" fmla="*/ 5392111 h 5392926"/>
              <a:gd name="connsiteX4" fmla="*/ 661249 w 7270945"/>
              <a:gd name="connsiteY4" fmla="*/ 5392926 h 5392926"/>
              <a:gd name="connsiteX5" fmla="*/ 159543 w 7270945"/>
              <a:gd name="connsiteY5" fmla="*/ 4858850 h 5392926"/>
              <a:gd name="connsiteX6" fmla="*/ 155497 w 7270945"/>
              <a:gd name="connsiteY6" fmla="*/ 497244 h 5392926"/>
              <a:gd name="connsiteX0" fmla="*/ 184805 w 7300253"/>
              <a:gd name="connsiteY0" fmla="*/ 449109 h 5344791"/>
              <a:gd name="connsiteX1" fmla="*/ 706741 w 7300253"/>
              <a:gd name="connsiteY1" fmla="*/ 0 h 5344791"/>
              <a:gd name="connsiteX2" fmla="*/ 7300253 w 7300253"/>
              <a:gd name="connsiteY2" fmla="*/ 453 h 5344791"/>
              <a:gd name="connsiteX3" fmla="*/ 7300253 w 7300253"/>
              <a:gd name="connsiteY3" fmla="*/ 5343976 h 5344791"/>
              <a:gd name="connsiteX4" fmla="*/ 690557 w 7300253"/>
              <a:gd name="connsiteY4" fmla="*/ 5344791 h 5344791"/>
              <a:gd name="connsiteX5" fmla="*/ 188851 w 7300253"/>
              <a:gd name="connsiteY5" fmla="*/ 4810715 h 5344791"/>
              <a:gd name="connsiteX6" fmla="*/ 184805 w 7300253"/>
              <a:gd name="connsiteY6" fmla="*/ 449109 h 5344791"/>
              <a:gd name="connsiteX0" fmla="*/ 155498 w 7270946"/>
              <a:gd name="connsiteY0" fmla="*/ 497244 h 5392926"/>
              <a:gd name="connsiteX1" fmla="*/ 677434 w 7270946"/>
              <a:gd name="connsiteY1" fmla="*/ 48135 h 5392926"/>
              <a:gd name="connsiteX2" fmla="*/ 7270946 w 7270946"/>
              <a:gd name="connsiteY2" fmla="*/ 48588 h 5392926"/>
              <a:gd name="connsiteX3" fmla="*/ 7270946 w 7270946"/>
              <a:gd name="connsiteY3" fmla="*/ 5392111 h 5392926"/>
              <a:gd name="connsiteX4" fmla="*/ 661250 w 7270946"/>
              <a:gd name="connsiteY4" fmla="*/ 5392926 h 5392926"/>
              <a:gd name="connsiteX5" fmla="*/ 159544 w 7270946"/>
              <a:gd name="connsiteY5" fmla="*/ 4858850 h 5392926"/>
              <a:gd name="connsiteX6" fmla="*/ 155498 w 7270946"/>
              <a:gd name="connsiteY6" fmla="*/ 497244 h 5392926"/>
              <a:gd name="connsiteX0" fmla="*/ 37199 w 7152647"/>
              <a:gd name="connsiteY0" fmla="*/ 527190 h 5422872"/>
              <a:gd name="connsiteX1" fmla="*/ 559135 w 7152647"/>
              <a:gd name="connsiteY1" fmla="*/ 78081 h 5422872"/>
              <a:gd name="connsiteX2" fmla="*/ 7152647 w 7152647"/>
              <a:gd name="connsiteY2" fmla="*/ 78534 h 5422872"/>
              <a:gd name="connsiteX3" fmla="*/ 7152647 w 7152647"/>
              <a:gd name="connsiteY3" fmla="*/ 5422057 h 5422872"/>
              <a:gd name="connsiteX4" fmla="*/ 542951 w 7152647"/>
              <a:gd name="connsiteY4" fmla="*/ 5422872 h 5422872"/>
              <a:gd name="connsiteX5" fmla="*/ 41245 w 7152647"/>
              <a:gd name="connsiteY5" fmla="*/ 4888796 h 5422872"/>
              <a:gd name="connsiteX6" fmla="*/ 37199 w 7152647"/>
              <a:gd name="connsiteY6" fmla="*/ 527190 h 5422872"/>
              <a:gd name="connsiteX0" fmla="*/ 27 w 7115475"/>
              <a:gd name="connsiteY0" fmla="*/ 522980 h 5418662"/>
              <a:gd name="connsiteX1" fmla="*/ 521963 w 7115475"/>
              <a:gd name="connsiteY1" fmla="*/ 73871 h 5418662"/>
              <a:gd name="connsiteX2" fmla="*/ 7115475 w 7115475"/>
              <a:gd name="connsiteY2" fmla="*/ 74324 h 5418662"/>
              <a:gd name="connsiteX3" fmla="*/ 7115475 w 7115475"/>
              <a:gd name="connsiteY3" fmla="*/ 5417847 h 5418662"/>
              <a:gd name="connsiteX4" fmla="*/ 505779 w 7115475"/>
              <a:gd name="connsiteY4" fmla="*/ 5418662 h 5418662"/>
              <a:gd name="connsiteX5" fmla="*/ 4073 w 7115475"/>
              <a:gd name="connsiteY5" fmla="*/ 4884586 h 5418662"/>
              <a:gd name="connsiteX6" fmla="*/ 27 w 7115475"/>
              <a:gd name="connsiteY6" fmla="*/ 522980 h 5418662"/>
              <a:gd name="connsiteX0" fmla="*/ 161 w 7115609"/>
              <a:gd name="connsiteY0" fmla="*/ 449127 h 5344809"/>
              <a:gd name="connsiteX1" fmla="*/ 522097 w 7115609"/>
              <a:gd name="connsiteY1" fmla="*/ 18 h 5344809"/>
              <a:gd name="connsiteX2" fmla="*/ 7115609 w 7115609"/>
              <a:gd name="connsiteY2" fmla="*/ 471 h 5344809"/>
              <a:gd name="connsiteX3" fmla="*/ 7115609 w 7115609"/>
              <a:gd name="connsiteY3" fmla="*/ 5343994 h 5344809"/>
              <a:gd name="connsiteX4" fmla="*/ 505913 w 7115609"/>
              <a:gd name="connsiteY4" fmla="*/ 5344809 h 5344809"/>
              <a:gd name="connsiteX5" fmla="*/ 4207 w 7115609"/>
              <a:gd name="connsiteY5" fmla="*/ 4810733 h 5344809"/>
              <a:gd name="connsiteX6" fmla="*/ 161 w 7115609"/>
              <a:gd name="connsiteY6" fmla="*/ 449127 h 5344809"/>
              <a:gd name="connsiteX0" fmla="*/ 196 w 7115644"/>
              <a:gd name="connsiteY0" fmla="*/ 449124 h 5344806"/>
              <a:gd name="connsiteX1" fmla="*/ 522132 w 7115644"/>
              <a:gd name="connsiteY1" fmla="*/ 15 h 5344806"/>
              <a:gd name="connsiteX2" fmla="*/ 7115644 w 7115644"/>
              <a:gd name="connsiteY2" fmla="*/ 468 h 5344806"/>
              <a:gd name="connsiteX3" fmla="*/ 7115644 w 7115644"/>
              <a:gd name="connsiteY3" fmla="*/ 5343991 h 5344806"/>
              <a:gd name="connsiteX4" fmla="*/ 505948 w 7115644"/>
              <a:gd name="connsiteY4" fmla="*/ 5344806 h 5344806"/>
              <a:gd name="connsiteX5" fmla="*/ 4242 w 7115644"/>
              <a:gd name="connsiteY5" fmla="*/ 4810730 h 5344806"/>
              <a:gd name="connsiteX6" fmla="*/ 196 w 7115644"/>
              <a:gd name="connsiteY6" fmla="*/ 449124 h 5344806"/>
              <a:gd name="connsiteX0" fmla="*/ 196 w 7115644"/>
              <a:gd name="connsiteY0" fmla="*/ 449132 h 5344814"/>
              <a:gd name="connsiteX1" fmla="*/ 522132 w 7115644"/>
              <a:gd name="connsiteY1" fmla="*/ 23 h 5344814"/>
              <a:gd name="connsiteX2" fmla="*/ 7115644 w 7115644"/>
              <a:gd name="connsiteY2" fmla="*/ 476 h 5344814"/>
              <a:gd name="connsiteX3" fmla="*/ 7115644 w 7115644"/>
              <a:gd name="connsiteY3" fmla="*/ 5343999 h 5344814"/>
              <a:gd name="connsiteX4" fmla="*/ 505948 w 7115644"/>
              <a:gd name="connsiteY4" fmla="*/ 5344814 h 5344814"/>
              <a:gd name="connsiteX5" fmla="*/ 4242 w 7115644"/>
              <a:gd name="connsiteY5" fmla="*/ 4810738 h 5344814"/>
              <a:gd name="connsiteX6" fmla="*/ 196 w 7115644"/>
              <a:gd name="connsiteY6" fmla="*/ 449132 h 5344814"/>
              <a:gd name="connsiteX0" fmla="*/ 21 w 7115469"/>
              <a:gd name="connsiteY0" fmla="*/ 449140 h 5344822"/>
              <a:gd name="connsiteX1" fmla="*/ 521957 w 7115469"/>
              <a:gd name="connsiteY1" fmla="*/ 31 h 5344822"/>
              <a:gd name="connsiteX2" fmla="*/ 7115469 w 7115469"/>
              <a:gd name="connsiteY2" fmla="*/ 484 h 5344822"/>
              <a:gd name="connsiteX3" fmla="*/ 7115469 w 7115469"/>
              <a:gd name="connsiteY3" fmla="*/ 5344007 h 5344822"/>
              <a:gd name="connsiteX4" fmla="*/ 505773 w 7115469"/>
              <a:gd name="connsiteY4" fmla="*/ 5344822 h 5344822"/>
              <a:gd name="connsiteX5" fmla="*/ 4067 w 7115469"/>
              <a:gd name="connsiteY5" fmla="*/ 4810746 h 5344822"/>
              <a:gd name="connsiteX6" fmla="*/ 21 w 7115469"/>
              <a:gd name="connsiteY6" fmla="*/ 449140 h 5344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5469" h="5344822">
                <a:moveTo>
                  <a:pt x="21" y="449140"/>
                </a:moveTo>
                <a:cubicBezTo>
                  <a:pt x="-2303" y="101747"/>
                  <a:pt x="197851" y="-2068"/>
                  <a:pt x="521957" y="31"/>
                </a:cubicBezTo>
                <a:lnTo>
                  <a:pt x="7115469" y="484"/>
                </a:lnTo>
                <a:lnTo>
                  <a:pt x="7115469" y="5344007"/>
                </a:lnTo>
                <a:lnTo>
                  <a:pt x="505773" y="5344822"/>
                </a:lnTo>
                <a:cubicBezTo>
                  <a:pt x="180743" y="5344822"/>
                  <a:pt x="1369" y="5166796"/>
                  <a:pt x="4067" y="4810746"/>
                </a:cubicBezTo>
                <a:cubicBezTo>
                  <a:pt x="4741" y="4820187"/>
                  <a:pt x="2345" y="796533"/>
                  <a:pt x="21" y="449140"/>
                </a:cubicBez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07" name="Rectangle 6" descr="Rectangle 6"/>
          <p:cNvSpPr>
            <a:spLocks noGrp="1" noChangeArrowheads="1"/>
          </p:cNvSpPr>
          <p:nvPr userDrawn="1"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766800" y="2286000"/>
            <a:ext cx="4141630" cy="1386000"/>
          </a:xfrm>
          <a:noFill/>
        </p:spPr>
        <p:txBody>
          <a:bodyPr lIns="0" tIns="0" rIns="0" anchor="b" anchorCtr="0"/>
          <a:lstStyle>
            <a:lvl1pPr>
              <a:lnSpc>
                <a:spcPct val="110000"/>
              </a:lnSpc>
              <a:defRPr sz="36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766800" y="3805199"/>
            <a:ext cx="4036789" cy="7488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20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66800" y="4831200"/>
            <a:ext cx="404301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Heavy" panose="00000700000000000000" pitchFamily="2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6800" y="5083200"/>
            <a:ext cx="4043018" cy="489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 userDrawn="1"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88" name="Rectangle 5"/>
          <p:cNvSpPr>
            <a:spLocks noGrp="1" noChangeArrowheads="1"/>
          </p:cNvSpPr>
          <p:nvPr userDrawn="1"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0" y="517459"/>
            <a:ext cx="1887660" cy="1887660"/>
          </a:xfrm>
          <a:prstGeom prst="rect">
            <a:avLst/>
          </a:prstGeom>
          <a:ln>
            <a:noFill/>
          </a:ln>
        </p:spPr>
      </p:pic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  <p:sp>
        <p:nvSpPr>
          <p:cNvPr id="2" name="TextBox 1" descr="CONFIDENTIAL_TAG_0xFFEE">
            <a:extLst>
              <a:ext uri="{FF2B5EF4-FFF2-40B4-BE49-F238E27FC236}">
                <a16:creationId xmlns:a16="http://schemas.microsoft.com/office/drawing/2014/main" id="{01EE18D7-26F6-1B75-E28E-A373E411B298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675012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descr="&lt;ignore&gt;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723" cy="6857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6800" y="2754000"/>
            <a:ext cx="9972000" cy="918000"/>
          </a:xfrm>
          <a:noFill/>
        </p:spPr>
        <p:txBody>
          <a:bodyPr lIns="0" tIns="0" rIns="0" anchor="b" anchorCtr="0"/>
          <a:lstStyle>
            <a:lvl1pPr>
              <a:lnSpc>
                <a:spcPct val="100000"/>
              </a:lnSpc>
              <a:defRPr sz="36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66800" y="3805200"/>
            <a:ext cx="9975600" cy="7488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20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766800" y="4831200"/>
            <a:ext cx="7869600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Heavy" panose="00000700000000000000" pitchFamily="2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766800" y="5083200"/>
            <a:ext cx="7869600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0" y="517459"/>
            <a:ext cx="1887660" cy="1887660"/>
          </a:xfrm>
          <a:prstGeom prst="rect">
            <a:avLst/>
          </a:prstGeom>
          <a:ln>
            <a:noFill/>
          </a:ln>
        </p:spPr>
      </p:pic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  <p:sp>
        <p:nvSpPr>
          <p:cNvPr id="2" name="TextBox 1" descr="CONFIDENTIAL_TAG_0xFFEE">
            <a:extLst>
              <a:ext uri="{FF2B5EF4-FFF2-40B4-BE49-F238E27FC236}">
                <a16:creationId xmlns:a16="http://schemas.microsoft.com/office/drawing/2014/main" id="{B825B6E9-D7B8-EF0D-D76A-68056A26E38A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3899750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765174" y="1665288"/>
            <a:ext cx="10914063" cy="4694236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2" name="TextBox 1" descr="CONFIDENTIAL_TAG_0xFFEE">
            <a:extLst>
              <a:ext uri="{FF2B5EF4-FFF2-40B4-BE49-F238E27FC236}">
                <a16:creationId xmlns:a16="http://schemas.microsoft.com/office/drawing/2014/main" id="{A5F2835C-613B-CAD9-1C25-F92AEDCEA9F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4622774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30" r="49252"/>
          <a:stretch/>
        </p:blipFill>
        <p:spPr>
          <a:xfrm>
            <a:off x="8571903" y="-8626"/>
            <a:ext cx="3620097" cy="6824568"/>
          </a:xfrm>
          <a:prstGeom prst="rect">
            <a:avLst/>
          </a:prstGeom>
        </p:spPr>
      </p:pic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765174" y="1665288"/>
            <a:ext cx="10914063" cy="4694236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34683376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 descr="&lt;ignore&gt;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765174" y="1665288"/>
            <a:ext cx="5211763" cy="4694236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2" name="TextBox 1" descr="CONFIDENTIAL_TAG_0xFFEE">
            <a:extLst>
              <a:ext uri="{FF2B5EF4-FFF2-40B4-BE49-F238E27FC236}">
                <a16:creationId xmlns:a16="http://schemas.microsoft.com/office/drawing/2014/main" id="{8D63E2CE-C23C-1597-7162-5A42F015F80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8484272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799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765174" y="1686556"/>
            <a:ext cx="10914063" cy="4672967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354200" indent="-1778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5320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684400" indent="-152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tabLst/>
              <a:defRPr sz="11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2" name="TextBox 1" descr="CONFIDENTIAL_TAG_0xFFEE">
            <a:extLst>
              <a:ext uri="{FF2B5EF4-FFF2-40B4-BE49-F238E27FC236}">
                <a16:creationId xmlns:a16="http://schemas.microsoft.com/office/drawing/2014/main" id="{BF2EDA9E-5003-751A-97EB-8AF60DEB1A23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9394300"/>
      </p:ext>
    </p:extLst>
  </p:cSld>
  <p:clrMapOvr>
    <a:masterClrMapping/>
  </p:clrMapOvr>
  <p:transition/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31323" r="30139"/>
          <a:stretch/>
        </p:blipFill>
        <p:spPr>
          <a:xfrm>
            <a:off x="9440005" y="0"/>
            <a:ext cx="2764695" cy="2717799"/>
          </a:xfrm>
          <a:prstGeom prst="rect">
            <a:avLst/>
          </a:prstGeom>
        </p:spPr>
      </p:pic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472014" y="1665288"/>
            <a:ext cx="5207223" cy="4694237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¢"/>
              <a:defRPr sz="1800"/>
            </a:lvl2pPr>
            <a:lvl3pPr marL="459000" indent="-22860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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765174" y="1665286"/>
            <a:ext cx="5211763" cy="4694239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"/>
              <a:defRPr sz="1800"/>
            </a:lvl2pPr>
            <a:lvl3pPr marL="459000" indent="-228600"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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2" name="TextBox 1" descr="CONFIDENTIAL_TAG_0xFFEE">
            <a:extLst>
              <a:ext uri="{FF2B5EF4-FFF2-40B4-BE49-F238E27FC236}">
                <a16:creationId xmlns:a16="http://schemas.microsoft.com/office/drawing/2014/main" id="{8026F324-2F76-8F1A-EECB-EF3A0B7BD543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MOST 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0187353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BC2D164-2B02-5F28-BCCA-5C29BBD65B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23923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38" imgH="338" progId="TCLayout.ActiveDocument.1">
                  <p:embed/>
                </p:oleObj>
              </mc:Choice>
              <mc:Fallback>
                <p:oleObj name="think-cell Slide" r:id="rId25" imgW="338" imgH="33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C2D164-2B02-5F28-BCCA-5C29BBD65B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5175" y="1665289"/>
            <a:ext cx="10914062" cy="46941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-6201" y="508000"/>
            <a:ext cx="1269984" cy="38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3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  <p:sp>
        <p:nvSpPr>
          <p:cNvPr id="95" name="Rectangle 94" descr="&lt;Shell Yellow Bar&gt;" title="&lt;Shell Yellow Bar&gt;"/>
          <p:cNvSpPr/>
          <p:nvPr userDrawn="1"/>
        </p:nvSpPr>
        <p:spPr bwMode="gray">
          <a:xfrm>
            <a:off x="-3222" y="6820523"/>
            <a:ext cx="12193200" cy="38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956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0" r:id="rId20"/>
    <p:sldLayoutId id="2147483671" r:id="rId21"/>
    <p:sldLayoutId id="2147483672" r:id="rId22"/>
  </p:sldLayoutIdLst>
  <p:transition>
    <p:fade/>
  </p:transition>
  <p:hf hdr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75000"/>
        <a:buFont typeface="Wingdings" panose="05000000000000000000" pitchFamily="2" charset="2"/>
        <a:buChar char="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100000"/>
        <a:buFont typeface="Wingdings" panose="05000000000000000000" pitchFamily="2" charset="2"/>
        <a:buChar char="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Wingdings" panose="05000000000000000000" pitchFamily="2" charset="2"/>
        <a:buChar char="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Wingdings" panose="05000000000000000000" pitchFamily="2" charset="2"/>
        <a:buChar char="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Wingdings" panose="05000000000000000000" pitchFamily="2" charset="2"/>
        <a:buChar char="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1049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18">
          <p15:clr>
            <a:srgbClr val="F26B43"/>
          </p15:clr>
        </p15:guide>
        <p15:guide id="14" orient="horz" pos="4225">
          <p15:clr>
            <a:srgbClr val="F26B43"/>
          </p15:clr>
        </p15:guide>
        <p15:guide id="15" pos="482">
          <p15:clr>
            <a:srgbClr val="F26B43"/>
          </p15:clr>
        </p15:guide>
        <p15:guide id="16" pos="642">
          <p15:clr>
            <a:srgbClr val="F26B43"/>
          </p15:clr>
        </p15:guide>
        <p15:guide id="17" orient="horz" pos="111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5.xml"/><Relationship Id="rId5" Type="http://schemas.openxmlformats.org/officeDocument/2006/relationships/hyperlink" Target="https://my.shell.com/:p:/g/personal/mukhtar_sani_shell_com/EW_jHcp0H2hCusMqm6JainwBLE9cn_GmUln11me9vUtFnA?e=dqhHns" TargetMode="Externa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91257DA-DB80-201F-8E6C-9105E19A48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1257DA-DB80-201F-8E6C-9105E19A48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2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SOKU LOOPLINE TO ACE &amp; FS</a:t>
            </a:r>
          </a:p>
        </p:txBody>
      </p:sp>
      <p:sp>
        <p:nvSpPr>
          <p:cNvPr id="23" name="Subtitle 2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  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766800" y="3698929"/>
            <a:ext cx="7871121" cy="237600"/>
          </a:xfrm>
        </p:spPr>
        <p:txBody>
          <a:bodyPr/>
          <a:lstStyle/>
          <a:p>
            <a:r>
              <a:rPr lang="en-GB" dirty="0" err="1"/>
              <a:t>Loopline</a:t>
            </a:r>
            <a:r>
              <a:rPr lang="en-GB" dirty="0"/>
              <a:t> to ACE and Soku Flow Station to Bonny Terminal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Soku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BAE6A-B452-4007-8177-56DD051636F9}" type="slidenum">
              <a:rPr kumimoji="0" lang="en-GB" sz="850" b="0" i="0" u="none" strike="noStrike" kern="1200" cap="none" spc="0" normalizeH="0" baseline="0" noProof="1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Arial" pitchFamily="34" charset="0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850" b="0" i="0" u="none" strike="noStrike" kern="1200" cap="none" spc="0" normalizeH="0" baseline="0" noProof="1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/>
              <a:ea typeface="+mn-ea"/>
              <a:cs typeface="Arial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50" b="0" i="0" u="none" strike="noStrike" kern="1200" cap="none" spc="0" normalizeH="0" baseline="0" noProof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Arial" pitchFamily="34" charset="0"/>
              </a:rPr>
              <a:t>September 2023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50" b="0" i="0" u="none" strike="noStrike" kern="1200" cap="none" spc="0" normalizeH="0" baseline="0" noProof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Arial" pitchFamily="34" charset="0"/>
              </a:rPr>
              <a:t> </a:t>
            </a: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32E8F85-13FB-561C-2B04-5C7D70458A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2E8F85-13FB-561C-2B04-5C7D70458A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C71CF1A-CA0B-125E-FBC3-F976D75058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BAE6A-B452-4007-8177-56DD051636F9}" type="slidenum">
              <a:rPr kumimoji="0" lang="en-GB" sz="850" b="0" i="0" u="none" strike="noStrike" kern="1200" cap="none" spc="0" normalizeH="0" baseline="0" noProof="1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Arial" pitchFamily="34" charset="0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850" b="0" i="0" u="none" strike="noStrike" kern="1200" cap="none" spc="0" normalizeH="0" baseline="0" noProof="1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/>
              <a:ea typeface="+mn-ea"/>
              <a:cs typeface="Arial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69ED91-C412-54CA-07EF-B80B3BFA6F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50" b="0" i="0" u="none" strike="noStrike" kern="1200" cap="none" spc="0" normalizeH="0" baseline="0" noProof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Arial" pitchFamily="34" charset="0"/>
              </a:rPr>
              <a:t> 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2D6DA1FF-63B0-C976-5C5C-43F043FBC3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495" y="136462"/>
            <a:ext cx="9432530" cy="324467"/>
          </a:xfrm>
        </p:spPr>
        <p:txBody>
          <a:bodyPr/>
          <a:lstStyle/>
          <a:p>
            <a:r>
              <a:rPr lang="en-GB" b="1" dirty="0"/>
              <a:t>Soku </a:t>
            </a:r>
            <a:r>
              <a:rPr lang="en-GB" b="1" dirty="0" err="1"/>
              <a:t>Loopline</a:t>
            </a:r>
            <a:r>
              <a:rPr lang="en-GB" b="1" dirty="0"/>
              <a:t> Project Proposal – To enable additional &gt;120MMscfd gas export to NLNG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5DD9A3-BD47-FD82-1466-61C4534B476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50" b="0" i="0" u="none" strike="noStrike" kern="1200" cap="none" spc="0" normalizeH="0" baseline="0" noProof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Arial" pitchFamily="34" charset="0"/>
              </a:rPr>
              <a:t>September 2023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881E80C-646B-439E-E58B-D3A5EF4B7F6E}"/>
              </a:ext>
            </a:extLst>
          </p:cNvPr>
          <p:cNvGrpSpPr/>
          <p:nvPr/>
        </p:nvGrpSpPr>
        <p:grpSpPr>
          <a:xfrm>
            <a:off x="3149600" y="622300"/>
            <a:ext cx="8933805" cy="5469052"/>
            <a:chOff x="63010" y="433363"/>
            <a:chExt cx="12020396" cy="5666696"/>
          </a:xfrm>
        </p:grpSpPr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4110BA96-9948-A4E5-69A0-0CDFFDD2BB00}"/>
                </a:ext>
              </a:extLst>
            </p:cNvPr>
            <p:cNvSpPr/>
            <p:nvPr/>
          </p:nvSpPr>
          <p:spPr>
            <a:xfrm>
              <a:off x="63010" y="491021"/>
              <a:ext cx="6927536" cy="4685343"/>
            </a:xfrm>
            <a:prstGeom prst="roundRect">
              <a:avLst/>
            </a:prstGeom>
            <a:noFill/>
            <a:ln w="9525" cap="flat" cmpd="sng" algn="ctr">
              <a:solidFill>
                <a:schemeClr val="accent5"/>
              </a:solidFill>
              <a:prstDash val="lg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8443"/>
                </a:solidFill>
                <a:effectLst/>
                <a:uLnTx/>
                <a:uFillTx/>
                <a:latin typeface="ShellMedium"/>
                <a:ea typeface="+mn-ea"/>
                <a:cs typeface="+mn-cs"/>
              </a:endParaRPr>
            </a:p>
          </p:txBody>
        </p:sp>
        <p:sp>
          <p:nvSpPr>
            <p:cNvPr id="9" name="Flowchart: Magnetic Disk 8">
              <a:extLst>
                <a:ext uri="{FF2B5EF4-FFF2-40B4-BE49-F238E27FC236}">
                  <a16:creationId xmlns:a16="http://schemas.microsoft.com/office/drawing/2014/main" id="{8227F060-F732-90D9-12FC-4E723F6660A0}"/>
                </a:ext>
              </a:extLst>
            </p:cNvPr>
            <p:cNvSpPr/>
            <p:nvPr/>
          </p:nvSpPr>
          <p:spPr>
            <a:xfrm>
              <a:off x="148875" y="1042989"/>
              <a:ext cx="1330675" cy="1371600"/>
            </a:xfrm>
            <a:prstGeom prst="flowChartMagneticDisk">
              <a:avLst/>
            </a:prstGeom>
            <a:ln w="12700"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rPr>
                <a:t>Soku Condensate Tank</a:t>
              </a: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4799804-AD73-D8F5-E264-B657002D3E7C}"/>
                </a:ext>
              </a:extLst>
            </p:cNvPr>
            <p:cNvGrpSpPr/>
            <p:nvPr/>
          </p:nvGrpSpPr>
          <p:grpSpPr>
            <a:xfrm>
              <a:off x="2495819" y="1874589"/>
              <a:ext cx="543768" cy="602856"/>
              <a:chOff x="2483119" y="2037149"/>
              <a:chExt cx="543768" cy="602856"/>
            </a:xfrm>
          </p:grpSpPr>
          <p:sp>
            <p:nvSpPr>
              <p:cNvPr id="64" name="Flowchart: Extract 63">
                <a:extLst>
                  <a:ext uri="{FF2B5EF4-FFF2-40B4-BE49-F238E27FC236}">
                    <a16:creationId xmlns:a16="http://schemas.microsoft.com/office/drawing/2014/main" id="{9893ED5E-FFE8-07D5-6C4C-2B3336F08935}"/>
                  </a:ext>
                </a:extLst>
              </p:cNvPr>
              <p:cNvSpPr/>
              <p:nvPr/>
            </p:nvSpPr>
            <p:spPr>
              <a:xfrm>
                <a:off x="2483119" y="2249796"/>
                <a:ext cx="543768" cy="390209"/>
              </a:xfrm>
              <a:prstGeom prst="flowChartExtract">
                <a:avLst/>
              </a:prstGeom>
              <a:ln w="12700"/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endParaRPr>
              </a:p>
            </p:txBody>
          </p:sp>
          <p:sp>
            <p:nvSpPr>
              <p:cNvPr id="10" name="Flowchart: Sequential Access Storage 9">
                <a:extLst>
                  <a:ext uri="{FF2B5EF4-FFF2-40B4-BE49-F238E27FC236}">
                    <a16:creationId xmlns:a16="http://schemas.microsoft.com/office/drawing/2014/main" id="{A61D662A-D125-374B-6B13-AE66C7233E82}"/>
                  </a:ext>
                </a:extLst>
              </p:cNvPr>
              <p:cNvSpPr/>
              <p:nvPr/>
            </p:nvSpPr>
            <p:spPr>
              <a:xfrm flipV="1">
                <a:off x="2486024" y="2037149"/>
                <a:ext cx="540000" cy="540000"/>
              </a:xfrm>
              <a:prstGeom prst="flowChartMagneticTape">
                <a:avLst/>
              </a:prstGeom>
              <a:ln w="12700"/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endParaRPr>
              </a:p>
            </p:txBody>
          </p:sp>
        </p:grp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CF9AEB92-9E47-408E-A958-28C7023109EF}"/>
                </a:ext>
              </a:extLst>
            </p:cNvPr>
            <p:cNvCxnSpPr>
              <a:cxnSpLocks/>
              <a:endCxn id="20" idx="1"/>
            </p:cNvCxnSpPr>
            <p:nvPr/>
          </p:nvCxnSpPr>
          <p:spPr>
            <a:xfrm>
              <a:off x="3039587" y="1903674"/>
              <a:ext cx="5686095" cy="0"/>
            </a:xfrm>
            <a:prstGeom prst="straightConnector1">
              <a:avLst/>
            </a:prstGeom>
            <a:ln w="38100">
              <a:solidFill>
                <a:srgbClr val="743410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" name="Isosceles Triangle 19">
              <a:extLst>
                <a:ext uri="{FF2B5EF4-FFF2-40B4-BE49-F238E27FC236}">
                  <a16:creationId xmlns:a16="http://schemas.microsoft.com/office/drawing/2014/main" id="{C5BC2C88-E868-2CAE-CDFA-E5FEBC841AAF}"/>
                </a:ext>
              </a:extLst>
            </p:cNvPr>
            <p:cNvSpPr/>
            <p:nvPr/>
          </p:nvSpPr>
          <p:spPr>
            <a:xfrm>
              <a:off x="8575187" y="1636794"/>
              <a:ext cx="601980" cy="533760"/>
            </a:xfrm>
            <a:prstGeom prst="triangle">
              <a:avLst/>
            </a:prstGeom>
            <a:ln w="12700"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</a:endParaRP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CE86603D-02E2-30D0-8C84-E1FE56BCD972}"/>
                </a:ext>
              </a:extLst>
            </p:cNvPr>
            <p:cNvSpPr/>
            <p:nvPr/>
          </p:nvSpPr>
          <p:spPr>
            <a:xfrm>
              <a:off x="10408058" y="1741206"/>
              <a:ext cx="1675348" cy="533760"/>
            </a:xfrm>
            <a:prstGeom prst="roundRect">
              <a:avLst/>
            </a:prstGeom>
            <a:ln w="12700"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rPr>
                <a:t>Bonny Terminal</a:t>
              </a:r>
            </a:p>
          </p:txBody>
        </p: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2588D012-C798-18A4-FE74-7620AA355FFD}"/>
                </a:ext>
              </a:extLst>
            </p:cNvPr>
            <p:cNvCxnSpPr>
              <a:cxnSpLocks/>
              <a:endCxn id="23" idx="1"/>
            </p:cNvCxnSpPr>
            <p:nvPr/>
          </p:nvCxnSpPr>
          <p:spPr>
            <a:xfrm flipV="1">
              <a:off x="8868284" y="2008086"/>
              <a:ext cx="1539774" cy="19151"/>
            </a:xfrm>
            <a:prstGeom prst="straightConnector1">
              <a:avLst/>
            </a:prstGeom>
            <a:ln w="38100">
              <a:solidFill>
                <a:srgbClr val="003C88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D0029DA5-226B-3B34-B197-00139298D86D}"/>
                </a:ext>
              </a:extLst>
            </p:cNvPr>
            <p:cNvSpPr/>
            <p:nvPr/>
          </p:nvSpPr>
          <p:spPr>
            <a:xfrm>
              <a:off x="411846" y="491022"/>
              <a:ext cx="1406356" cy="390209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8443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rPr>
                <a:t>Soku GP</a:t>
              </a:r>
            </a:p>
          </p:txBody>
        </p:sp>
        <p:sp>
          <p:nvSpPr>
            <p:cNvPr id="32" name="Isosceles Triangle 31">
              <a:extLst>
                <a:ext uri="{FF2B5EF4-FFF2-40B4-BE49-F238E27FC236}">
                  <a16:creationId xmlns:a16="http://schemas.microsoft.com/office/drawing/2014/main" id="{4823AFBE-D47C-C8DD-C234-AF5ECE0AC30D}"/>
                </a:ext>
              </a:extLst>
            </p:cNvPr>
            <p:cNvSpPr/>
            <p:nvPr/>
          </p:nvSpPr>
          <p:spPr>
            <a:xfrm>
              <a:off x="8575187" y="5566299"/>
              <a:ext cx="601980" cy="533760"/>
            </a:xfrm>
            <a:prstGeom prst="triangle">
              <a:avLst/>
            </a:prstGeom>
            <a:ln w="12700"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</a:endParaRP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5597F355-D86A-F9C3-7A29-A60538378205}"/>
                </a:ext>
              </a:extLst>
            </p:cNvPr>
            <p:cNvSpPr/>
            <p:nvPr/>
          </p:nvSpPr>
          <p:spPr>
            <a:xfrm>
              <a:off x="6033963" y="5566299"/>
              <a:ext cx="1330675" cy="512966"/>
            </a:xfrm>
            <a:prstGeom prst="roundRect">
              <a:avLst/>
            </a:prstGeom>
            <a:ln w="12700"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rPr>
                <a:t>Soku FS</a:t>
              </a:r>
            </a:p>
          </p:txBody>
        </p: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4E3C350E-4BA9-2098-5A9A-8CF192D11500}"/>
                </a:ext>
              </a:extLst>
            </p:cNvPr>
            <p:cNvCxnSpPr>
              <a:cxnSpLocks/>
              <a:stCxn id="33" idx="3"/>
              <a:endCxn id="32" idx="1"/>
            </p:cNvCxnSpPr>
            <p:nvPr/>
          </p:nvCxnSpPr>
          <p:spPr>
            <a:xfrm>
              <a:off x="7364638" y="5822782"/>
              <a:ext cx="1361044" cy="10397"/>
            </a:xfrm>
            <a:prstGeom prst="straightConnector1">
              <a:avLst/>
            </a:prstGeom>
            <a:ln w="38100">
              <a:solidFill>
                <a:srgbClr val="003C88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6BDCBCCD-EA61-4061-2C8E-E26B0465D053}"/>
                </a:ext>
              </a:extLst>
            </p:cNvPr>
            <p:cNvSpPr/>
            <p:nvPr/>
          </p:nvSpPr>
          <p:spPr>
            <a:xfrm>
              <a:off x="8828607" y="1577026"/>
              <a:ext cx="895733" cy="235891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8443"/>
                  </a:solidFill>
                  <a:effectLst/>
                  <a:uLnTx/>
                  <a:uFillTx/>
                  <a:latin typeface="ShellLight" panose="00000400000000000000" pitchFamily="50" charset="0"/>
                  <a:ea typeface="+mn-ea"/>
                  <a:cs typeface="+mn-cs"/>
                </a:rPr>
                <a:t>San Barth MF</a:t>
              </a: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7C7C8362-2BD5-AB72-110C-68B526D4D227}"/>
                </a:ext>
              </a:extLst>
            </p:cNvPr>
            <p:cNvCxnSpPr>
              <a:cxnSpLocks/>
              <a:endCxn id="45" idx="2"/>
            </p:cNvCxnSpPr>
            <p:nvPr/>
          </p:nvCxnSpPr>
          <p:spPr>
            <a:xfrm flipV="1">
              <a:off x="8701106" y="946328"/>
              <a:ext cx="791" cy="972000"/>
            </a:xfrm>
            <a:prstGeom prst="straightConnector1">
              <a:avLst/>
            </a:prstGeom>
            <a:ln w="38100">
              <a:solidFill>
                <a:srgbClr val="743410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815135D2-A2C3-0745-C4DA-197D1E48E8D1}"/>
                </a:ext>
              </a:extLst>
            </p:cNvPr>
            <p:cNvSpPr/>
            <p:nvPr/>
          </p:nvSpPr>
          <p:spPr>
            <a:xfrm>
              <a:off x="7910990" y="433363"/>
              <a:ext cx="1581814" cy="512966"/>
            </a:xfrm>
            <a:prstGeom prst="roundRect">
              <a:avLst/>
            </a:prstGeom>
            <a:ln w="12700"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rPr>
                <a:t>S2SB Metering Skid</a:t>
              </a:r>
            </a:p>
          </p:txBody>
        </p:sp>
        <p:cxnSp>
          <p:nvCxnSpPr>
            <p:cNvPr id="63" name="Connector: Elbow 62">
              <a:extLst>
                <a:ext uri="{FF2B5EF4-FFF2-40B4-BE49-F238E27FC236}">
                  <a16:creationId xmlns:a16="http://schemas.microsoft.com/office/drawing/2014/main" id="{57AB0E4A-6AD8-C0ED-F2DA-8481F7037332}"/>
                </a:ext>
              </a:extLst>
            </p:cNvPr>
            <p:cNvCxnSpPr>
              <a:cxnSpLocks/>
            </p:cNvCxnSpPr>
            <p:nvPr/>
          </p:nvCxnSpPr>
          <p:spPr>
            <a:xfrm>
              <a:off x="4259670" y="1930072"/>
              <a:ext cx="1078583" cy="633451"/>
            </a:xfrm>
            <a:prstGeom prst="bentConnector3">
              <a:avLst>
                <a:gd name="adj1" fmla="val 546"/>
              </a:avLst>
            </a:prstGeom>
            <a:ln w="38100">
              <a:solidFill>
                <a:srgbClr val="003C88"/>
              </a:solidFill>
              <a:tailEnd type="triangle"/>
            </a:ln>
            <a:effectLst/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9" name="Straight Arrow Connector 68">
              <a:extLst>
                <a:ext uri="{FF2B5EF4-FFF2-40B4-BE49-F238E27FC236}">
                  <a16:creationId xmlns:a16="http://schemas.microsoft.com/office/drawing/2014/main" id="{FBAF06A4-033D-4BF0-9E20-E246B32C30F8}"/>
                </a:ext>
              </a:extLst>
            </p:cNvPr>
            <p:cNvCxnSpPr>
              <a:cxnSpLocks/>
              <a:stCxn id="33" idx="0"/>
              <a:endCxn id="4" idx="2"/>
            </p:cNvCxnSpPr>
            <p:nvPr/>
          </p:nvCxnSpPr>
          <p:spPr>
            <a:xfrm flipV="1">
              <a:off x="6699301" y="3115634"/>
              <a:ext cx="1261" cy="2450665"/>
            </a:xfrm>
            <a:prstGeom prst="straightConnector1">
              <a:avLst/>
            </a:prstGeom>
            <a:ln w="38100">
              <a:solidFill>
                <a:srgbClr val="003C88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6011D831-38F3-4F39-FA85-D593B9496294}"/>
                </a:ext>
              </a:extLst>
            </p:cNvPr>
            <p:cNvSpPr/>
            <p:nvPr/>
          </p:nvSpPr>
          <p:spPr>
            <a:xfrm>
              <a:off x="2253313" y="2466414"/>
              <a:ext cx="1028780" cy="235891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8443"/>
                  </a:solidFill>
                  <a:effectLst/>
                  <a:uLnTx/>
                  <a:uFillTx/>
                  <a:latin typeface="ShellLight" panose="00000400000000000000" pitchFamily="50" charset="0"/>
                  <a:ea typeface="+mn-ea"/>
                  <a:cs typeface="+mn-cs"/>
                </a:rPr>
                <a:t>Effluent Pump *3</a:t>
              </a:r>
            </a:p>
          </p:txBody>
        </p:sp>
        <p:cxnSp>
          <p:nvCxnSpPr>
            <p:cNvPr id="72" name="Connector: Elbow 71">
              <a:extLst>
                <a:ext uri="{FF2B5EF4-FFF2-40B4-BE49-F238E27FC236}">
                  <a16:creationId xmlns:a16="http://schemas.microsoft.com/office/drawing/2014/main" id="{63E151A1-2EA1-31C2-2A00-B0E9AB428FE5}"/>
                </a:ext>
              </a:extLst>
            </p:cNvPr>
            <p:cNvCxnSpPr>
              <a:cxnSpLocks/>
              <a:stCxn id="9" idx="4"/>
            </p:cNvCxnSpPr>
            <p:nvPr/>
          </p:nvCxnSpPr>
          <p:spPr>
            <a:xfrm>
              <a:off x="1479550" y="1728789"/>
              <a:ext cx="1315525" cy="405615"/>
            </a:xfrm>
            <a:prstGeom prst="bentConnector3">
              <a:avLst>
                <a:gd name="adj1" fmla="val 50000"/>
              </a:avLst>
            </a:prstGeom>
            <a:ln w="38100">
              <a:solidFill>
                <a:srgbClr val="743410"/>
              </a:solidFill>
              <a:tailEnd type="triangle"/>
            </a:ln>
            <a:effectLst/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83" name="Connector: Elbow 82">
              <a:extLst>
                <a:ext uri="{FF2B5EF4-FFF2-40B4-BE49-F238E27FC236}">
                  <a16:creationId xmlns:a16="http://schemas.microsoft.com/office/drawing/2014/main" id="{9B74B526-C5D8-CE0D-8849-B66EE0C845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47997" y="3689312"/>
              <a:ext cx="4140342" cy="476777"/>
            </a:xfrm>
            <a:prstGeom prst="bentConnector3">
              <a:avLst>
                <a:gd name="adj1" fmla="val 78"/>
              </a:avLst>
            </a:prstGeom>
            <a:ln w="38100">
              <a:solidFill>
                <a:srgbClr val="DD1D21"/>
              </a:solidFill>
              <a:tailEnd type="triangle"/>
            </a:ln>
            <a:effectLst/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03" name="Straight Arrow Connector 102">
              <a:extLst>
                <a:ext uri="{FF2B5EF4-FFF2-40B4-BE49-F238E27FC236}">
                  <a16:creationId xmlns:a16="http://schemas.microsoft.com/office/drawing/2014/main" id="{C3336403-B780-3F67-CCB8-695D53EAF521}"/>
                </a:ext>
              </a:extLst>
            </p:cNvPr>
            <p:cNvCxnSpPr>
              <a:cxnSpLocks/>
            </p:cNvCxnSpPr>
            <p:nvPr/>
          </p:nvCxnSpPr>
          <p:spPr>
            <a:xfrm>
              <a:off x="9538140" y="2105829"/>
              <a:ext cx="41755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793BF56D-3EF4-8CB0-EC30-9A910375E9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03005" y="2563523"/>
              <a:ext cx="0" cy="1125788"/>
            </a:xfrm>
            <a:prstGeom prst="straightConnector1">
              <a:avLst/>
            </a:prstGeom>
            <a:ln w="38100">
              <a:solidFill>
                <a:srgbClr val="DD1D21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B837E020-CAD3-832A-2A00-87061483D0B4}"/>
                </a:ext>
              </a:extLst>
            </p:cNvPr>
            <p:cNvGrpSpPr/>
            <p:nvPr/>
          </p:nvGrpSpPr>
          <p:grpSpPr>
            <a:xfrm>
              <a:off x="1516111" y="4157111"/>
              <a:ext cx="543768" cy="602856"/>
              <a:chOff x="2483119" y="2037149"/>
              <a:chExt cx="543768" cy="602856"/>
            </a:xfrm>
          </p:grpSpPr>
          <p:sp>
            <p:nvSpPr>
              <p:cNvPr id="70" name="Flowchart: Extract 69">
                <a:extLst>
                  <a:ext uri="{FF2B5EF4-FFF2-40B4-BE49-F238E27FC236}">
                    <a16:creationId xmlns:a16="http://schemas.microsoft.com/office/drawing/2014/main" id="{A31C140E-9B67-9174-407B-D8EC42846057}"/>
                  </a:ext>
                </a:extLst>
              </p:cNvPr>
              <p:cNvSpPr/>
              <p:nvPr/>
            </p:nvSpPr>
            <p:spPr>
              <a:xfrm>
                <a:off x="2483119" y="2249796"/>
                <a:ext cx="543768" cy="390209"/>
              </a:xfrm>
              <a:prstGeom prst="flowChartExtract">
                <a:avLst/>
              </a:prstGeom>
              <a:ln w="12700"/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endParaRPr>
              </a:p>
            </p:txBody>
          </p:sp>
          <p:sp>
            <p:nvSpPr>
              <p:cNvPr id="73" name="Flowchart: Sequential Access Storage 72">
                <a:extLst>
                  <a:ext uri="{FF2B5EF4-FFF2-40B4-BE49-F238E27FC236}">
                    <a16:creationId xmlns:a16="http://schemas.microsoft.com/office/drawing/2014/main" id="{F96CF456-C01D-2963-6ABA-96D3C58F8A64}"/>
                  </a:ext>
                </a:extLst>
              </p:cNvPr>
              <p:cNvSpPr/>
              <p:nvPr/>
            </p:nvSpPr>
            <p:spPr>
              <a:xfrm flipV="1">
                <a:off x="2486024" y="2037149"/>
                <a:ext cx="540000" cy="540000"/>
              </a:xfrm>
              <a:prstGeom prst="flowChartMagneticTape">
                <a:avLst/>
              </a:prstGeom>
              <a:ln w="12700"/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endParaRPr>
              </a:p>
            </p:txBody>
          </p:sp>
        </p:grp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65816B41-3955-1856-D2E0-AF08A4AFBAC8}"/>
                </a:ext>
              </a:extLst>
            </p:cNvPr>
            <p:cNvSpPr/>
            <p:nvPr/>
          </p:nvSpPr>
          <p:spPr>
            <a:xfrm>
              <a:off x="1198023" y="4758890"/>
              <a:ext cx="1091874" cy="235891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8443"/>
                  </a:solidFill>
                  <a:effectLst/>
                  <a:uLnTx/>
                  <a:uFillTx/>
                  <a:latin typeface="ShellLight" panose="00000400000000000000" pitchFamily="50" charset="0"/>
                  <a:ea typeface="+mn-ea"/>
                  <a:cs typeface="+mn-cs"/>
                </a:rPr>
                <a:t>Booster Pump *2</a:t>
              </a:r>
            </a:p>
          </p:txBody>
        </p:sp>
        <p:cxnSp>
          <p:nvCxnSpPr>
            <p:cNvPr id="78" name="Connector: Elbow 77">
              <a:extLst>
                <a:ext uri="{FF2B5EF4-FFF2-40B4-BE49-F238E27FC236}">
                  <a16:creationId xmlns:a16="http://schemas.microsoft.com/office/drawing/2014/main" id="{D12EEEE7-9E92-F47C-F133-CFE3C8F1F8E0}"/>
                </a:ext>
              </a:extLst>
            </p:cNvPr>
            <p:cNvCxnSpPr>
              <a:cxnSpLocks/>
              <a:stCxn id="9" idx="3"/>
            </p:cNvCxnSpPr>
            <p:nvPr/>
          </p:nvCxnSpPr>
          <p:spPr>
            <a:xfrm rot="16200000" flipH="1">
              <a:off x="314518" y="2914283"/>
              <a:ext cx="2003378" cy="1003989"/>
            </a:xfrm>
            <a:prstGeom prst="bentConnector3">
              <a:avLst>
                <a:gd name="adj1" fmla="val 99922"/>
              </a:avLst>
            </a:prstGeom>
            <a:ln w="38100">
              <a:solidFill>
                <a:srgbClr val="003C88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14" name="Straight Arrow Connector 113">
              <a:extLst>
                <a:ext uri="{FF2B5EF4-FFF2-40B4-BE49-F238E27FC236}">
                  <a16:creationId xmlns:a16="http://schemas.microsoft.com/office/drawing/2014/main" id="{FBF66DE0-700E-4468-E3D7-79357F6B6BE8}"/>
                </a:ext>
              </a:extLst>
            </p:cNvPr>
            <p:cNvCxnSpPr>
              <a:cxnSpLocks/>
            </p:cNvCxnSpPr>
            <p:nvPr/>
          </p:nvCxnSpPr>
          <p:spPr>
            <a:xfrm>
              <a:off x="2059016" y="4181746"/>
              <a:ext cx="1298314" cy="1710"/>
            </a:xfrm>
            <a:prstGeom prst="straightConnector1">
              <a:avLst/>
            </a:prstGeom>
            <a:ln w="38100">
              <a:solidFill>
                <a:srgbClr val="003C88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03328CEA-C57D-7E09-F594-C6B5B0FFAB13}"/>
                </a:ext>
              </a:extLst>
            </p:cNvPr>
            <p:cNvSpPr txBox="1"/>
            <p:nvPr/>
          </p:nvSpPr>
          <p:spPr bwMode="auto">
            <a:xfrm>
              <a:off x="2391579" y="4245354"/>
              <a:ext cx="584999" cy="13508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357708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Pct val="85000"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Light" panose="00000400000000000000" pitchFamily="50" charset="0"/>
                  <a:ea typeface="+mn-ea"/>
                  <a:cs typeface="+mn-cs"/>
                </a:rPr>
                <a:t>55-BA-410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B5C30D3F-692B-77BD-2CD2-3FDBA6AB9064}"/>
                </a:ext>
              </a:extLst>
            </p:cNvPr>
            <p:cNvSpPr txBox="1"/>
            <p:nvPr/>
          </p:nvSpPr>
          <p:spPr bwMode="auto">
            <a:xfrm>
              <a:off x="5946907" y="2960710"/>
              <a:ext cx="713497" cy="28680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357708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Pct val="85000"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DD1D21"/>
                  </a:solidFill>
                  <a:effectLst/>
                  <a:uLnTx/>
                  <a:uFillTx/>
                  <a:latin typeface="ShellLight" panose="00000400000000000000" pitchFamily="50" charset="0"/>
                  <a:ea typeface="+mn-ea"/>
                  <a:cs typeface="+mn-cs"/>
                </a:rPr>
                <a:t>Check Valve to be reversed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DD1B9F76-04A5-F041-2914-8E2CE85839C7}"/>
                </a:ext>
              </a:extLst>
            </p:cNvPr>
            <p:cNvSpPr/>
            <p:nvPr/>
          </p:nvSpPr>
          <p:spPr>
            <a:xfrm>
              <a:off x="3356827" y="4048144"/>
              <a:ext cx="902843" cy="275182"/>
            </a:xfrm>
            <a:prstGeom prst="roundRect">
              <a:avLst/>
            </a:prstGeom>
            <a:ln w="12700"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Light" panose="00000400000000000000" pitchFamily="50" charset="0"/>
                  <a:ea typeface="+mn-ea"/>
                  <a:cs typeface="+mn-cs"/>
                </a:rPr>
                <a:t>Produce Water System (W17)</a:t>
              </a:r>
            </a:p>
          </p:txBody>
        </p: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E4BD47CD-73C2-B121-ADA3-AFC57CF2B2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25682" y="3661825"/>
              <a:ext cx="0" cy="59405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DEDC1FB1-1053-DFEF-A7C3-0B49757B8497}"/>
                </a:ext>
              </a:extLst>
            </p:cNvPr>
            <p:cNvCxnSpPr>
              <a:cxnSpLocks/>
            </p:cNvCxnSpPr>
            <p:nvPr/>
          </p:nvCxnSpPr>
          <p:spPr>
            <a:xfrm>
              <a:off x="7854299" y="5727647"/>
              <a:ext cx="229474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4E706DF1-FC55-2B76-17D5-ACB99EE812BF}"/>
                </a:ext>
              </a:extLst>
            </p:cNvPr>
            <p:cNvCxnSpPr>
              <a:cxnSpLocks/>
            </p:cNvCxnSpPr>
            <p:nvPr/>
          </p:nvCxnSpPr>
          <p:spPr>
            <a:xfrm>
              <a:off x="6584885" y="4278437"/>
              <a:ext cx="0" cy="64825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F15F8D01-6A2A-9AB9-51F6-49DCF807B6B2}"/>
                </a:ext>
              </a:extLst>
            </p:cNvPr>
            <p:cNvGrpSpPr/>
            <p:nvPr/>
          </p:nvGrpSpPr>
          <p:grpSpPr>
            <a:xfrm>
              <a:off x="6584884" y="2834864"/>
              <a:ext cx="231356" cy="280770"/>
              <a:chOff x="6584884" y="2834864"/>
              <a:chExt cx="231356" cy="280770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BF9B5F88-9E14-05AC-BEED-735085A12A4E}"/>
                  </a:ext>
                </a:extLst>
              </p:cNvPr>
              <p:cNvSpPr/>
              <p:nvPr/>
            </p:nvSpPr>
            <p:spPr>
              <a:xfrm>
                <a:off x="6584884" y="2834864"/>
                <a:ext cx="231355" cy="280770"/>
              </a:xfrm>
              <a:prstGeom prst="rect">
                <a:avLst/>
              </a:prstGeom>
              <a:ln w="12700">
                <a:noFill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endParaRPr>
              </a:p>
            </p:txBody>
          </p:sp>
          <p:cxnSp>
            <p:nvCxnSpPr>
              <p:cNvPr id="37" name="Straight Arrow Connector 36">
                <a:extLst>
                  <a:ext uri="{FF2B5EF4-FFF2-40B4-BE49-F238E27FC236}">
                    <a16:creationId xmlns:a16="http://schemas.microsoft.com/office/drawing/2014/main" id="{ED04B355-8F9D-63C2-DE3C-BA5FC6BC39E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594898" y="2834864"/>
                <a:ext cx="221342" cy="279845"/>
              </a:xfrm>
              <a:prstGeom prst="straightConnector1">
                <a:avLst/>
              </a:prstGeom>
              <a:ln w="12700">
                <a:headEnd type="none" w="med" len="med"/>
                <a:tailEnd type="triangle" w="med" len="med"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817D3C06-F9CF-D000-A4B7-5E4690571725}"/>
                  </a:ext>
                </a:extLst>
              </p:cNvPr>
              <p:cNvCxnSpPr/>
              <p:nvPr/>
            </p:nvCxnSpPr>
            <p:spPr>
              <a:xfrm>
                <a:off x="6584885" y="2834864"/>
                <a:ext cx="231355" cy="0"/>
              </a:xfrm>
              <a:prstGeom prst="line">
                <a:avLst/>
              </a:prstGeom>
              <a:ln w="12700">
                <a:headEnd type="none" w="med" len="med"/>
                <a:tailEnd type="none" w="med" len="med"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61697FAE-8ACC-EC00-6ECD-9DD5525D22A9}"/>
                  </a:ext>
                </a:extLst>
              </p:cNvPr>
              <p:cNvCxnSpPr/>
              <p:nvPr/>
            </p:nvCxnSpPr>
            <p:spPr>
              <a:xfrm>
                <a:off x="6584884" y="3114709"/>
                <a:ext cx="231355" cy="0"/>
              </a:xfrm>
              <a:prstGeom prst="line">
                <a:avLst/>
              </a:prstGeom>
              <a:ln w="12700">
                <a:headEnd type="none" w="med" len="med"/>
                <a:tailEnd type="none" w="med" len="med"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</p:cxnSp>
        </p:grp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1ADB66E8-BCEB-6134-E12D-7B8A89DA2DB2}"/>
                </a:ext>
              </a:extLst>
            </p:cNvPr>
            <p:cNvSpPr/>
            <p:nvPr/>
          </p:nvSpPr>
          <p:spPr>
            <a:xfrm>
              <a:off x="8937839" y="5638276"/>
              <a:ext cx="1118517" cy="311533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8443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rPr>
                <a:t>Ekulama</a:t>
              </a: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8443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rPr>
                <a:t> </a:t>
              </a:r>
              <a:r>
                <a:rPr kumimoji="0" lang="en-GB" sz="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8443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rPr>
                <a:t>Jtn</a:t>
              </a: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8443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rPr>
                <a:t>. MF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F8C69FC8-090D-7989-5853-4811131F8B4B}"/>
                </a:ext>
              </a:extLst>
            </p:cNvPr>
            <p:cNvSpPr/>
            <p:nvPr/>
          </p:nvSpPr>
          <p:spPr>
            <a:xfrm>
              <a:off x="1968695" y="3394870"/>
              <a:ext cx="2713189" cy="235891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DD1D21"/>
                  </a:solidFill>
                  <a:effectLst/>
                  <a:uLnTx/>
                  <a:uFillTx/>
                  <a:latin typeface="ShellLight" panose="00000400000000000000" pitchFamily="50" charset="0"/>
                  <a:ea typeface="+mn-ea"/>
                  <a:cs typeface="+mn-cs"/>
                </a:rPr>
                <a:t>170 meters New Proposed Loop line to ACE &amp; FS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AD86D6AF-8E58-9852-1421-352C5E2B5B9E}"/>
                </a:ext>
              </a:extLst>
            </p:cNvPr>
            <p:cNvSpPr/>
            <p:nvPr/>
          </p:nvSpPr>
          <p:spPr>
            <a:xfrm>
              <a:off x="5328713" y="2442656"/>
              <a:ext cx="690064" cy="235891"/>
            </a:xfrm>
            <a:prstGeom prst="roundRect">
              <a:avLst/>
            </a:prstGeom>
            <a:ln w="12700"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Light" panose="00000400000000000000" pitchFamily="50" charset="0"/>
                  <a:ea typeface="+mn-ea"/>
                  <a:cs typeface="+mn-cs"/>
                </a:rPr>
                <a:t>ACE to Soku Jetty</a:t>
              </a: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FAA705C2-1B9D-77C6-D575-85689FB035C7}"/>
                </a:ext>
              </a:extLst>
            </p:cNvPr>
            <p:cNvCxnSpPr>
              <a:cxnSpLocks/>
              <a:stCxn id="51" idx="3"/>
            </p:cNvCxnSpPr>
            <p:nvPr/>
          </p:nvCxnSpPr>
          <p:spPr>
            <a:xfrm>
              <a:off x="11335650" y="4666824"/>
              <a:ext cx="471531" cy="9475"/>
            </a:xfrm>
            <a:prstGeom prst="straightConnector1">
              <a:avLst/>
            </a:prstGeom>
            <a:ln w="38100">
              <a:solidFill>
                <a:srgbClr val="003C88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5D2E6070-5A48-2AC6-3CB6-D5883261FCD1}"/>
                </a:ext>
              </a:extLst>
            </p:cNvPr>
            <p:cNvCxnSpPr>
              <a:cxnSpLocks/>
              <a:stCxn id="35" idx="3"/>
            </p:cNvCxnSpPr>
            <p:nvPr/>
          </p:nvCxnSpPr>
          <p:spPr>
            <a:xfrm>
              <a:off x="11335650" y="4379220"/>
              <a:ext cx="471531" cy="18708"/>
            </a:xfrm>
            <a:prstGeom prst="straightConnector1">
              <a:avLst/>
            </a:prstGeom>
            <a:ln w="38100">
              <a:solidFill>
                <a:srgbClr val="743410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CA58004-77BC-64A1-D4CC-CF2549823494}"/>
                </a:ext>
              </a:extLst>
            </p:cNvPr>
            <p:cNvSpPr txBox="1"/>
            <p:nvPr/>
          </p:nvSpPr>
          <p:spPr bwMode="auto">
            <a:xfrm>
              <a:off x="10261599" y="4302035"/>
              <a:ext cx="1074051" cy="154369"/>
            </a:xfrm>
            <a:prstGeom prst="rect">
              <a:avLst/>
            </a:prstGeom>
            <a:noFill/>
            <a:ln w="9525" algn="ctr">
              <a:solidFill>
                <a:schemeClr val="bg1">
                  <a:lumMod val="95000"/>
                </a:schemeClr>
              </a:solidFill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357708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Pct val="85000"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rPr>
                <a:t>Condensate/Oil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5D25385-3E5E-698F-9FD9-239D3322DABD}"/>
                </a:ext>
              </a:extLst>
            </p:cNvPr>
            <p:cNvSpPr txBox="1"/>
            <p:nvPr/>
          </p:nvSpPr>
          <p:spPr bwMode="auto">
            <a:xfrm>
              <a:off x="10261599" y="4589639"/>
              <a:ext cx="1074051" cy="154369"/>
            </a:xfrm>
            <a:prstGeom prst="rect">
              <a:avLst/>
            </a:prstGeom>
            <a:noFill/>
            <a:ln w="9525" algn="ctr">
              <a:solidFill>
                <a:schemeClr val="bg1">
                  <a:lumMod val="95000"/>
                </a:schemeClr>
              </a:solidFill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357708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Pct val="85000"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rPr>
                <a:t>Produced Water</a:t>
              </a:r>
            </a:p>
          </p:txBody>
        </p:sp>
        <p:cxnSp>
          <p:nvCxnSpPr>
            <p:cNvPr id="57" name="Straight Arrow Connector 56">
              <a:extLst>
                <a:ext uri="{FF2B5EF4-FFF2-40B4-BE49-F238E27FC236}">
                  <a16:creationId xmlns:a16="http://schemas.microsoft.com/office/drawing/2014/main" id="{9A8C6680-153D-0E40-4632-820DB252F137}"/>
                </a:ext>
              </a:extLst>
            </p:cNvPr>
            <p:cNvCxnSpPr>
              <a:cxnSpLocks/>
              <a:stCxn id="58" idx="3"/>
            </p:cNvCxnSpPr>
            <p:nvPr/>
          </p:nvCxnSpPr>
          <p:spPr>
            <a:xfrm>
              <a:off x="11335650" y="4911940"/>
              <a:ext cx="503926" cy="18708"/>
            </a:xfrm>
            <a:prstGeom prst="straightConnector1">
              <a:avLst/>
            </a:prstGeom>
            <a:ln w="38100">
              <a:solidFill>
                <a:srgbClr val="DD1D21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C0EDCE36-FB24-25C9-B54F-C42A13FEE30E}"/>
                </a:ext>
              </a:extLst>
            </p:cNvPr>
            <p:cNvSpPr txBox="1"/>
            <p:nvPr/>
          </p:nvSpPr>
          <p:spPr bwMode="auto">
            <a:xfrm>
              <a:off x="10261599" y="4834755"/>
              <a:ext cx="1074051" cy="154369"/>
            </a:xfrm>
            <a:prstGeom prst="rect">
              <a:avLst/>
            </a:prstGeom>
            <a:noFill/>
            <a:ln w="9525" algn="ctr">
              <a:solidFill>
                <a:schemeClr val="bg1">
                  <a:lumMod val="95000"/>
                </a:schemeClr>
              </a:solidFill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357708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Pct val="85000"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rPr>
                <a:t>Proposed </a:t>
              </a:r>
              <a:r>
                <a:rPr kumimoji="0" lang="en-GB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rPr>
                <a:t>Loopline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</a:endParaRPr>
            </a:p>
          </p:txBody>
        </p:sp>
        <p:cxnSp>
          <p:nvCxnSpPr>
            <p:cNvPr id="77" name="Straight Arrow Connector 76">
              <a:extLst>
                <a:ext uri="{FF2B5EF4-FFF2-40B4-BE49-F238E27FC236}">
                  <a16:creationId xmlns:a16="http://schemas.microsoft.com/office/drawing/2014/main" id="{3C1A0DBD-4B43-834A-FA92-2186B2A06F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99301" y="1874589"/>
              <a:ext cx="0" cy="959103"/>
            </a:xfrm>
            <a:prstGeom prst="straightConnector1">
              <a:avLst/>
            </a:prstGeom>
            <a:ln w="38100">
              <a:solidFill>
                <a:srgbClr val="743410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C24500E-66F2-B56C-C11B-3CE0CD6AC82F}"/>
                </a:ext>
              </a:extLst>
            </p:cNvPr>
            <p:cNvSpPr txBox="1"/>
            <p:nvPr/>
          </p:nvSpPr>
          <p:spPr bwMode="auto">
            <a:xfrm>
              <a:off x="7545705" y="5874168"/>
              <a:ext cx="904875" cy="154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357708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Pct val="85000"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rPr>
                <a:t> 6”</a:t>
              </a:r>
            </a:p>
          </p:txBody>
        </p:sp>
        <p:sp>
          <p:nvSpPr>
            <p:cNvPr id="22" name="Isosceles Triangle 21">
              <a:extLst>
                <a:ext uri="{FF2B5EF4-FFF2-40B4-BE49-F238E27FC236}">
                  <a16:creationId xmlns:a16="http://schemas.microsoft.com/office/drawing/2014/main" id="{C4D7E3FE-46FB-8CE8-30CD-A13B7EFAE94D}"/>
                </a:ext>
              </a:extLst>
            </p:cNvPr>
            <p:cNvSpPr/>
            <p:nvPr/>
          </p:nvSpPr>
          <p:spPr>
            <a:xfrm>
              <a:off x="8575187" y="2750392"/>
              <a:ext cx="601980" cy="533760"/>
            </a:xfrm>
            <a:prstGeom prst="triangle">
              <a:avLst/>
            </a:prstGeom>
            <a:ln w="12700"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</a:endParaRP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15AFA54E-4A31-F0ED-82B7-98B26830FD24}"/>
                </a:ext>
              </a:extLst>
            </p:cNvPr>
            <p:cNvSpPr/>
            <p:nvPr/>
          </p:nvSpPr>
          <p:spPr>
            <a:xfrm>
              <a:off x="8828207" y="2745595"/>
              <a:ext cx="1127484" cy="235891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8443"/>
                  </a:solidFill>
                  <a:effectLst/>
                  <a:uLnTx/>
                  <a:uFillTx/>
                  <a:latin typeface="ShellLight" panose="00000400000000000000" pitchFamily="50" charset="0"/>
                  <a:ea typeface="+mn-ea"/>
                  <a:cs typeface="+mn-cs"/>
                </a:rPr>
                <a:t>Old San Barth MF</a:t>
              </a:r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A078DBBA-D984-BDE9-1332-02AC13419E5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845177" y="3021742"/>
              <a:ext cx="1579451" cy="0"/>
            </a:xfrm>
            <a:prstGeom prst="straightConnector1">
              <a:avLst/>
            </a:prstGeom>
            <a:ln w="38100">
              <a:solidFill>
                <a:srgbClr val="743410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379CDBFE-2C46-35A0-F5D5-1088BD717C5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868284" y="2008086"/>
              <a:ext cx="0" cy="1009186"/>
            </a:xfrm>
            <a:prstGeom prst="straightConnector1">
              <a:avLst/>
            </a:prstGeom>
            <a:ln w="38100">
              <a:solidFill>
                <a:srgbClr val="003C88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18" name="Straight Arrow Connector 117">
              <a:extLst>
                <a:ext uri="{FF2B5EF4-FFF2-40B4-BE49-F238E27FC236}">
                  <a16:creationId xmlns:a16="http://schemas.microsoft.com/office/drawing/2014/main" id="{8C929760-580A-C593-6DD8-36B99CB30B0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868284" y="3017272"/>
              <a:ext cx="7893" cy="2591356"/>
            </a:xfrm>
            <a:prstGeom prst="straightConnector1">
              <a:avLst/>
            </a:prstGeom>
            <a:ln w="38100">
              <a:solidFill>
                <a:srgbClr val="003C88"/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35A80D8-77A8-94CE-D0B0-8DFC5E5078D9}"/>
                </a:ext>
              </a:extLst>
            </p:cNvPr>
            <p:cNvSpPr txBox="1"/>
            <p:nvPr/>
          </p:nvSpPr>
          <p:spPr bwMode="auto">
            <a:xfrm>
              <a:off x="8937840" y="4394175"/>
              <a:ext cx="388747" cy="154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357708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Pct val="85000"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rPr>
                <a:t>10”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38C9B4FE-3E54-75BD-1223-6F0560996CBA}"/>
                </a:ext>
              </a:extLst>
            </p:cNvPr>
            <p:cNvSpPr txBox="1"/>
            <p:nvPr/>
          </p:nvSpPr>
          <p:spPr bwMode="auto">
            <a:xfrm>
              <a:off x="9975087" y="3028403"/>
              <a:ext cx="584999" cy="13508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357708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Pct val="85000"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Light" panose="00000400000000000000" pitchFamily="50" charset="0"/>
                  <a:ea typeface="+mn-ea"/>
                  <a:cs typeface="+mn-cs"/>
                </a:rPr>
                <a:t>Belema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5AD8740F-D495-5D7F-FD74-8ABD13831059}"/>
                </a:ext>
              </a:extLst>
            </p:cNvPr>
            <p:cNvSpPr txBox="1"/>
            <p:nvPr/>
          </p:nvSpPr>
          <p:spPr bwMode="auto">
            <a:xfrm>
              <a:off x="8908362" y="2325623"/>
              <a:ext cx="388747" cy="1543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357708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Pct val="85000"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Medium"/>
                  <a:ea typeface="+mn-ea"/>
                  <a:cs typeface="+mn-cs"/>
                </a:rPr>
                <a:t>16”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7ABC675C-8AE5-247A-2290-CF74C9C10987}"/>
              </a:ext>
            </a:extLst>
          </p:cNvPr>
          <p:cNvSpPr txBox="1"/>
          <p:nvPr/>
        </p:nvSpPr>
        <p:spPr bwMode="auto">
          <a:xfrm>
            <a:off x="21294" y="622300"/>
            <a:ext cx="3093585" cy="56977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CHALLENGE:</a:t>
            </a:r>
          </a:p>
          <a:p>
            <a:pPr marL="201613" marR="0" lvl="0" indent="-201613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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Nemb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 Creek Trunkline (NCTL) integrity issues &amp; poor reconciliation factor </a:t>
            </a:r>
          </a:p>
          <a:p>
            <a:pPr marL="201613" marR="0" lvl="0" indent="-201613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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Soku disposal Well 17T has had recurring injectivity challenges</a:t>
            </a:r>
          </a:p>
          <a:p>
            <a:pPr marL="201613" marR="0" lvl="0" indent="-201613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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/>
              <a:ea typeface="+mn-ea"/>
              <a:cs typeface="+mn-cs"/>
            </a:endParaRPr>
          </a:p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OPPORTUNITY:</a:t>
            </a:r>
          </a:p>
          <a:p>
            <a:pPr marL="201613" marR="0" lvl="0" indent="-201613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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Enables additional &gt;120MMscfd gas export to NLNG</a:t>
            </a:r>
          </a:p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/>
              <a:ea typeface="+mn-ea"/>
              <a:cs typeface="+mn-cs"/>
            </a:endParaRPr>
          </a:p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SOLUTION:</a:t>
            </a:r>
          </a:p>
          <a:p>
            <a:pPr marL="201613" marR="0" lvl="0" indent="-201613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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Looplin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 concept to route produced water through the recent ACE line to the jetty for barging onwards to Bonny with additional provision to backflow via the 10” condensate line to Soku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Flowsta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 onwards to the NCT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7772515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EAD7DDE-45AF-EC87-AF68-07D6A1712F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9369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AD7DDE-45AF-EC87-AF68-07D6A1712F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574E19-BC0D-6FB4-3D64-96914B56B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712800"/>
            <a:ext cx="11171238" cy="1810944"/>
          </a:xfrm>
        </p:spPr>
        <p:txBody>
          <a:bodyPr vert="horz"/>
          <a:lstStyle/>
          <a:p>
            <a:r>
              <a:rPr lang="en-GB" dirty="0"/>
              <a:t>For More Details: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US" dirty="0">
                <a:hlinkClick r:id="rId5"/>
              </a:rPr>
              <a:t>Soku Loop Line to ACE + FS.pptx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CFB858-ED1A-A5AB-2C6E-A2FF1EB98C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3</a:t>
            </a:fld>
            <a:endParaRPr lang="en-GB" noProof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DF7996-2BE7-C254-E8A4-2FA0466F1D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021C22-F399-3DE1-B106-00639C8108D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GB" noProof="1"/>
              <a:t>September 2023</a:t>
            </a:r>
          </a:p>
        </p:txBody>
      </p:sp>
    </p:spTree>
    <p:extLst>
      <p:ext uri="{BB962C8B-B14F-4D97-AF65-F5344CB8AC3E}">
        <p14:creationId xmlns:p14="http://schemas.microsoft.com/office/powerpoint/2010/main" val="4274779805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3C88"/>
      </a:hlink>
      <a:folHlink>
        <a:srgbClr val="003C88"/>
      </a:folHlink>
    </a:clrScheme>
    <a:fontScheme name="Shell Font Theme">
      <a:majorFont>
        <a:latin typeface="ShellHeavy"/>
        <a:ea typeface=""/>
        <a:cs typeface=""/>
      </a:majorFont>
      <a:minorFont>
        <a:latin typeface="Shell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Onscreen;2057;Pos1;Date1;Widescreen Shell template - 16x9 V1-102.potx" id="{5A7BD8C3-2690-4C05-A145-19ADE4FBA848}" vid="{3B7C03BC-BD27-4D1F-8A34-1DD52275C4B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</TotalTime>
  <Words>206</Words>
  <Application>Microsoft Office PowerPoint</Application>
  <PresentationFormat>Widescreen</PresentationFormat>
  <Paragraphs>48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ShellHeavy</vt:lpstr>
      <vt:lpstr>ShellLight</vt:lpstr>
      <vt:lpstr>Shellmedium</vt:lpstr>
      <vt:lpstr>Wingdings</vt:lpstr>
      <vt:lpstr>Shell layouts with footer</vt:lpstr>
      <vt:lpstr>think-cell Slide</vt:lpstr>
      <vt:lpstr>SOKU LOOPLINE TO ACE &amp; FS</vt:lpstr>
      <vt:lpstr>PowerPoint Presentation</vt:lpstr>
      <vt:lpstr>For More Details:   Soku Loop Line to ACE + FS.pptx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KU LOOPLINE TO ACE &amp; FS</dc:title>
  <dc:creator>Sani, Mukhtar SPDC-IUC/G/UCS</dc:creator>
  <cp:lastModifiedBy>Sani, Mukhtar SPDC-IUC/G/UCS</cp:lastModifiedBy>
  <cp:revision>1</cp:revision>
  <dcterms:created xsi:type="dcterms:W3CDTF">2023-10-04T15:07:31Z</dcterms:created>
  <dcterms:modified xsi:type="dcterms:W3CDTF">2023-10-04T15:13:47Z</dcterms:modified>
</cp:coreProperties>
</file>